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s/slide4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slides/slide17.xml" ContentType="application/vnd.openxmlformats-officedocument.presentationml.slide+xml"/>
  <Override PartName="/ppt/slides/slide50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0.xml" ContentType="application/vnd.openxmlformats-officedocument.presentationml.slide+xml"/>
  <Override PartName="/ppt/slides/slide39.xml" ContentType="application/vnd.openxmlformats-officedocument.presentationml.slide+xml"/>
  <Override PartName="/ppt/slides/slide38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6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7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diagrams/colors1.xml" ContentType="application/vnd.openxmlformats-officedocument.drawingml.diagramColors+xml"/>
  <Override PartName="/ppt/commentAuthors.xml" ContentType="application/vnd.openxmlformats-officedocument.presentationml.commentAuthors+xml"/>
  <Override PartName="/ppt/theme/theme2.xml" ContentType="application/vnd.openxmlformats-officedocument.theme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diagrams/layout1.xml" ContentType="application/vnd.openxmlformats-officedocument.drawingml.diagramLayout+xml"/>
  <Override PartName="/ppt/diagrams/drawing1.xml" ContentType="application/vnd.ms-office.drawingml.diagramDrawing+xml"/>
  <Override PartName="/ppt/diagrams/quickStyle1.xml" ContentType="application/vnd.openxmlformats-officedocument.drawingml.diagramStyl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2"/>
  </p:notesMasterIdLst>
  <p:sldIdLst>
    <p:sldId id="256" r:id="rId2"/>
    <p:sldId id="385" r:id="rId3"/>
    <p:sldId id="417" r:id="rId4"/>
    <p:sldId id="257" r:id="rId5"/>
    <p:sldId id="419" r:id="rId6"/>
    <p:sldId id="508" r:id="rId7"/>
    <p:sldId id="474" r:id="rId8"/>
    <p:sldId id="472" r:id="rId9"/>
    <p:sldId id="486" r:id="rId10"/>
    <p:sldId id="426" r:id="rId11"/>
    <p:sldId id="427" r:id="rId12"/>
    <p:sldId id="429" r:id="rId13"/>
    <p:sldId id="428" r:id="rId14"/>
    <p:sldId id="473" r:id="rId15"/>
    <p:sldId id="425" r:id="rId16"/>
    <p:sldId id="489" r:id="rId17"/>
    <p:sldId id="476" r:id="rId18"/>
    <p:sldId id="477" r:id="rId19"/>
    <p:sldId id="485" r:id="rId20"/>
    <p:sldId id="479" r:id="rId21"/>
    <p:sldId id="480" r:id="rId22"/>
    <p:sldId id="481" r:id="rId23"/>
    <p:sldId id="482" r:id="rId24"/>
    <p:sldId id="483" r:id="rId25"/>
    <p:sldId id="484" r:id="rId26"/>
    <p:sldId id="487" r:id="rId27"/>
    <p:sldId id="499" r:id="rId28"/>
    <p:sldId id="500" r:id="rId29"/>
    <p:sldId id="501" r:id="rId30"/>
    <p:sldId id="507" r:id="rId31"/>
    <p:sldId id="502" r:id="rId32"/>
    <p:sldId id="503" r:id="rId33"/>
    <p:sldId id="504" r:id="rId34"/>
    <p:sldId id="505" r:id="rId35"/>
    <p:sldId id="506" r:id="rId36"/>
    <p:sldId id="411" r:id="rId37"/>
    <p:sldId id="498" r:id="rId38"/>
    <p:sldId id="431" r:id="rId39"/>
    <p:sldId id="433" r:id="rId40"/>
    <p:sldId id="432" r:id="rId41"/>
    <p:sldId id="494" r:id="rId42"/>
    <p:sldId id="493" r:id="rId43"/>
    <p:sldId id="495" r:id="rId44"/>
    <p:sldId id="496" r:id="rId45"/>
    <p:sldId id="497" r:id="rId46"/>
    <p:sldId id="434" r:id="rId47"/>
    <p:sldId id="490" r:id="rId48"/>
    <p:sldId id="491" r:id="rId49"/>
    <p:sldId id="492" r:id="rId50"/>
    <p:sldId id="410" r:id="rId51"/>
  </p:sldIdLst>
  <p:sldSz cx="9144000" cy="5143500" type="screen16x9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enrique Morais" initials="H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7B507"/>
    <a:srgbClr val="FFCC00"/>
    <a:srgbClr val="17E9E9"/>
    <a:srgbClr val="009AA6"/>
    <a:srgbClr val="FF0000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Estilo Claro 3 - Ênfas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Estilo Claro 3 - Ênfas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47" autoAdjust="0"/>
    <p:restoredTop sz="94671" autoAdjust="0"/>
  </p:normalViewPr>
  <p:slideViewPr>
    <p:cSldViewPr>
      <p:cViewPr varScale="1">
        <p:scale>
          <a:sx n="88" d="100"/>
          <a:sy n="88" d="100"/>
        </p:scale>
        <p:origin x="-912" y="-9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commentAuthors" Target="commentAuthors.xml"/><Relationship Id="rId58" Type="http://schemas.openxmlformats.org/officeDocument/2006/relationships/customXml" Target="../customXml/item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customXml" Target="../customXml/item2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Relationship Id="rId60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84CE02D-8791-4BC7-8DCC-E3EC9E667DF5}" type="doc">
      <dgm:prSet loTypeId="urn:microsoft.com/office/officeart/2005/8/layout/pyramid3" loCatId="pyramid" qsTypeId="urn:microsoft.com/office/officeart/2005/8/quickstyle/3d5" qsCatId="3D" csTypeId="urn:microsoft.com/office/officeart/2005/8/colors/accent1_3" csCatId="accent1" phldr="1"/>
      <dgm:spPr/>
    </dgm:pt>
    <dgm:pt modelId="{260D6DC2-01B7-49A6-983F-B7410007D92E}">
      <dgm:prSet phldrT="[Text]" custT="1"/>
      <dgm:spPr/>
      <dgm:t>
        <a:bodyPr/>
        <a:lstStyle/>
        <a:p>
          <a:r>
            <a:rPr lang="en-US" sz="2800" b="1" dirty="0" smtClean="0">
              <a:solidFill>
                <a:schemeClr val="bg1"/>
              </a:solidFill>
            </a:rPr>
            <a:t>Transactional Data</a:t>
          </a:r>
          <a:endParaRPr lang="en-US" sz="2800" b="1" dirty="0">
            <a:solidFill>
              <a:schemeClr val="bg1"/>
            </a:solidFill>
          </a:endParaRPr>
        </a:p>
      </dgm:t>
    </dgm:pt>
    <dgm:pt modelId="{31E9A61C-FECE-4CF1-AA7B-F2F0B00332EA}" type="parTrans" cxnId="{64D4CA76-AA21-4392-982A-FA6C292BCF3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99B909A-B37A-45E3-94D8-5B12DAB5AA6C}" type="sibTrans" cxnId="{64D4CA76-AA21-4392-982A-FA6C292BCF3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B6D9781-2BE7-44A9-9D3C-268B0CC9486C}">
      <dgm:prSet phldrT="[Text]" custT="1"/>
      <dgm:spPr/>
      <dgm:t>
        <a:bodyPr/>
        <a:lstStyle/>
        <a:p>
          <a:r>
            <a:rPr lang="en-US" sz="2000" b="1" dirty="0" smtClean="0">
              <a:solidFill>
                <a:schemeClr val="bg1"/>
              </a:solidFill>
            </a:rPr>
            <a:t>Operational Data &amp; Hierarchies</a:t>
          </a:r>
        </a:p>
      </dgm:t>
    </dgm:pt>
    <dgm:pt modelId="{670A6DA7-1127-4990-BF47-558D1472C66B}" type="parTrans" cxnId="{F8697B09-3BDE-44D7-BE75-3AD86D70AD7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522D614-010D-4C3D-8717-4BA56D2E9B01}" type="sibTrans" cxnId="{F8697B09-3BDE-44D7-BE75-3AD86D70AD7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936050F-DE14-437A-960A-C24FBD5EDF25}">
      <dgm:prSet phldrT="[Text]" custT="1"/>
      <dgm:spPr/>
      <dgm:t>
        <a:bodyPr/>
        <a:lstStyle/>
        <a:p>
          <a:r>
            <a:rPr lang="en-US" sz="18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aster Data</a:t>
          </a:r>
          <a:endParaRPr lang="en-US" sz="1800" b="1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4ED7BB4-5C5F-4E5A-8B86-05623E01138D}" type="parTrans" cxnId="{7D66852C-A389-4774-978E-FA41C2F1412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BF6D1AC-4121-4C1E-9E12-014EE88BFA4C}" type="sibTrans" cxnId="{7D66852C-A389-4774-978E-FA41C2F1412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56EDF22-19B3-457B-9A63-084440F72990}">
      <dgm:prSet phldrT="[Text]" custT="1"/>
      <dgm:spPr/>
      <dgm:t>
        <a:bodyPr/>
        <a:lstStyle/>
        <a:p>
          <a:r>
            <a:rPr lang="en-US" sz="1600" b="1" dirty="0" smtClean="0">
              <a:solidFill>
                <a:schemeClr val="tx1"/>
              </a:solidFill>
            </a:rPr>
            <a:t>Reference </a:t>
          </a:r>
        </a:p>
        <a:p>
          <a:r>
            <a:rPr lang="en-US" sz="1600" b="1" dirty="0" smtClean="0">
              <a:solidFill>
                <a:schemeClr val="tx1"/>
              </a:solidFill>
            </a:rPr>
            <a:t>Data</a:t>
          </a:r>
          <a:endParaRPr lang="en-US" sz="1600" b="1" dirty="0">
            <a:solidFill>
              <a:schemeClr val="tx1"/>
            </a:solidFill>
          </a:endParaRPr>
        </a:p>
      </dgm:t>
    </dgm:pt>
    <dgm:pt modelId="{D2EC2874-F591-4E04-817F-53518B75A1B3}" type="parTrans" cxnId="{D16934E2-C6AB-430D-BFEA-125D15ECBA8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282D1D8-AC97-4D17-BB12-2F079A4FA823}" type="sibTrans" cxnId="{D16934E2-C6AB-430D-BFEA-125D15ECBA8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B592571-92EE-4C79-9958-23E405754F5C}" type="pres">
      <dgm:prSet presAssocID="{084CE02D-8791-4BC7-8DCC-E3EC9E667DF5}" presName="Name0" presStyleCnt="0">
        <dgm:presLayoutVars>
          <dgm:dir/>
          <dgm:animLvl val="lvl"/>
          <dgm:resizeHandles val="exact"/>
        </dgm:presLayoutVars>
      </dgm:prSet>
      <dgm:spPr/>
    </dgm:pt>
    <dgm:pt modelId="{BFBDF6D6-C8F5-42A0-922C-80B660032096}" type="pres">
      <dgm:prSet presAssocID="{260D6DC2-01B7-49A6-983F-B7410007D92E}" presName="Name8" presStyleCnt="0"/>
      <dgm:spPr/>
    </dgm:pt>
    <dgm:pt modelId="{50FC33A4-A63F-4CA4-BBAA-2B2364D93AC4}" type="pres">
      <dgm:prSet presAssocID="{260D6DC2-01B7-49A6-983F-B7410007D92E}" presName="level" presStyleLbl="node1" presStyleIdx="0" presStyleCnt="4" custLinFactNeighborX="627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25A389-61CE-4969-9F43-B300B00DE838}" type="pres">
      <dgm:prSet presAssocID="{260D6DC2-01B7-49A6-983F-B7410007D92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951881-459A-4051-97E9-8663A48CD3D2}" type="pres">
      <dgm:prSet presAssocID="{8B6D9781-2BE7-44A9-9D3C-268B0CC9486C}" presName="Name8" presStyleCnt="0"/>
      <dgm:spPr/>
    </dgm:pt>
    <dgm:pt modelId="{FD35CE55-21EE-4BAE-B252-F832DD1652FF}" type="pres">
      <dgm:prSet presAssocID="{8B6D9781-2BE7-44A9-9D3C-268B0CC9486C}" presName="level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08C4738-070B-4343-9A14-F5D1C3EEA6D1}" type="pres">
      <dgm:prSet presAssocID="{8B6D9781-2BE7-44A9-9D3C-268B0CC9486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DB58F7-31A1-4433-BAAB-A7C455BD7E8E}" type="pres">
      <dgm:prSet presAssocID="{C936050F-DE14-437A-960A-C24FBD5EDF25}" presName="Name8" presStyleCnt="0"/>
      <dgm:spPr/>
    </dgm:pt>
    <dgm:pt modelId="{04EB9A96-A5AD-40EA-8DA6-7349221F87FD}" type="pres">
      <dgm:prSet presAssocID="{C936050F-DE14-437A-960A-C24FBD5EDF25}" presName="level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4B0C798-96C5-4B84-B04C-D3814C9186D4}" type="pres">
      <dgm:prSet presAssocID="{C936050F-DE14-437A-960A-C24FBD5EDF2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729BF98-CB92-4377-8F04-46FBC9D44220}" type="pres">
      <dgm:prSet presAssocID="{656EDF22-19B3-457B-9A63-084440F72990}" presName="Name8" presStyleCnt="0"/>
      <dgm:spPr/>
    </dgm:pt>
    <dgm:pt modelId="{D222BEE6-08A3-48F7-9450-2D4680A277EA}" type="pres">
      <dgm:prSet presAssocID="{656EDF22-19B3-457B-9A63-084440F72990}" presName="level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FA3C97-C0B8-4884-BD97-E7E27525963F}" type="pres">
      <dgm:prSet presAssocID="{656EDF22-19B3-457B-9A63-084440F7299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3C5F89D-6510-4912-866D-1D8F53A3E2DD}" type="presOf" srcId="{8B6D9781-2BE7-44A9-9D3C-268B0CC9486C}" destId="{508C4738-070B-4343-9A14-F5D1C3EEA6D1}" srcOrd="1" destOrd="0" presId="urn:microsoft.com/office/officeart/2005/8/layout/pyramid3"/>
    <dgm:cxn modelId="{7D66852C-A389-4774-978E-FA41C2F14120}" srcId="{084CE02D-8791-4BC7-8DCC-E3EC9E667DF5}" destId="{C936050F-DE14-437A-960A-C24FBD5EDF25}" srcOrd="2" destOrd="0" parTransId="{64ED7BB4-5C5F-4E5A-8B86-05623E01138D}" sibTransId="{ABF6D1AC-4121-4C1E-9E12-014EE88BFA4C}"/>
    <dgm:cxn modelId="{F8697B09-3BDE-44D7-BE75-3AD86D70AD7F}" srcId="{084CE02D-8791-4BC7-8DCC-E3EC9E667DF5}" destId="{8B6D9781-2BE7-44A9-9D3C-268B0CC9486C}" srcOrd="1" destOrd="0" parTransId="{670A6DA7-1127-4990-BF47-558D1472C66B}" sibTransId="{3522D614-010D-4C3D-8717-4BA56D2E9B01}"/>
    <dgm:cxn modelId="{FF49BB96-5A60-40FB-96B2-D9AB00013317}" type="presOf" srcId="{8B6D9781-2BE7-44A9-9D3C-268B0CC9486C}" destId="{FD35CE55-21EE-4BAE-B252-F832DD1652FF}" srcOrd="0" destOrd="0" presId="urn:microsoft.com/office/officeart/2005/8/layout/pyramid3"/>
    <dgm:cxn modelId="{3D18E9B3-6B42-45A1-9DFF-A0269B277481}" type="presOf" srcId="{260D6DC2-01B7-49A6-983F-B7410007D92E}" destId="{50FC33A4-A63F-4CA4-BBAA-2B2364D93AC4}" srcOrd="0" destOrd="0" presId="urn:microsoft.com/office/officeart/2005/8/layout/pyramid3"/>
    <dgm:cxn modelId="{0AECEE62-7ACC-43D0-A46A-E6E21CCD03E0}" type="presOf" srcId="{656EDF22-19B3-457B-9A63-084440F72990}" destId="{69FA3C97-C0B8-4884-BD97-E7E27525963F}" srcOrd="1" destOrd="0" presId="urn:microsoft.com/office/officeart/2005/8/layout/pyramid3"/>
    <dgm:cxn modelId="{38C70543-64BA-4E99-858A-424C80AD5005}" type="presOf" srcId="{084CE02D-8791-4BC7-8DCC-E3EC9E667DF5}" destId="{EB592571-92EE-4C79-9958-23E405754F5C}" srcOrd="0" destOrd="0" presId="urn:microsoft.com/office/officeart/2005/8/layout/pyramid3"/>
    <dgm:cxn modelId="{64D4CA76-AA21-4392-982A-FA6C292BCF3B}" srcId="{084CE02D-8791-4BC7-8DCC-E3EC9E667DF5}" destId="{260D6DC2-01B7-49A6-983F-B7410007D92E}" srcOrd="0" destOrd="0" parTransId="{31E9A61C-FECE-4CF1-AA7B-F2F0B00332EA}" sibTransId="{C99B909A-B37A-45E3-94D8-5B12DAB5AA6C}"/>
    <dgm:cxn modelId="{2E6AC38F-5D5B-4335-89F5-F082FBC64F66}" type="presOf" srcId="{C936050F-DE14-437A-960A-C24FBD5EDF25}" destId="{D4B0C798-96C5-4B84-B04C-D3814C9186D4}" srcOrd="1" destOrd="0" presId="urn:microsoft.com/office/officeart/2005/8/layout/pyramid3"/>
    <dgm:cxn modelId="{0C3A0EB5-BA8B-4768-9116-BF940132B82D}" type="presOf" srcId="{C936050F-DE14-437A-960A-C24FBD5EDF25}" destId="{04EB9A96-A5AD-40EA-8DA6-7349221F87FD}" srcOrd="0" destOrd="0" presId="urn:microsoft.com/office/officeart/2005/8/layout/pyramid3"/>
    <dgm:cxn modelId="{D16934E2-C6AB-430D-BFEA-125D15ECBA82}" srcId="{084CE02D-8791-4BC7-8DCC-E3EC9E667DF5}" destId="{656EDF22-19B3-457B-9A63-084440F72990}" srcOrd="3" destOrd="0" parTransId="{D2EC2874-F591-4E04-817F-53518B75A1B3}" sibTransId="{E282D1D8-AC97-4D17-BB12-2F079A4FA823}"/>
    <dgm:cxn modelId="{11DD1DF5-3E5C-41A8-B2A3-5E8D5A744265}" type="presOf" srcId="{260D6DC2-01B7-49A6-983F-B7410007D92E}" destId="{B325A389-61CE-4969-9F43-B300B00DE838}" srcOrd="1" destOrd="0" presId="urn:microsoft.com/office/officeart/2005/8/layout/pyramid3"/>
    <dgm:cxn modelId="{FABD62BE-AB88-4E7D-99BD-2BAEADC9F206}" type="presOf" srcId="{656EDF22-19B3-457B-9A63-084440F72990}" destId="{D222BEE6-08A3-48F7-9450-2D4680A277EA}" srcOrd="0" destOrd="0" presId="urn:microsoft.com/office/officeart/2005/8/layout/pyramid3"/>
    <dgm:cxn modelId="{2EE1D757-EFA9-4A0C-B433-12BCD5F2D89C}" type="presParOf" srcId="{EB592571-92EE-4C79-9958-23E405754F5C}" destId="{BFBDF6D6-C8F5-42A0-922C-80B660032096}" srcOrd="0" destOrd="0" presId="urn:microsoft.com/office/officeart/2005/8/layout/pyramid3"/>
    <dgm:cxn modelId="{A840EE39-593A-404C-8C91-CB81A59EE3D2}" type="presParOf" srcId="{BFBDF6D6-C8F5-42A0-922C-80B660032096}" destId="{50FC33A4-A63F-4CA4-BBAA-2B2364D93AC4}" srcOrd="0" destOrd="0" presId="urn:microsoft.com/office/officeart/2005/8/layout/pyramid3"/>
    <dgm:cxn modelId="{54ED373D-A521-4A37-9134-498310DA8F12}" type="presParOf" srcId="{BFBDF6D6-C8F5-42A0-922C-80B660032096}" destId="{B325A389-61CE-4969-9F43-B300B00DE838}" srcOrd="1" destOrd="0" presId="urn:microsoft.com/office/officeart/2005/8/layout/pyramid3"/>
    <dgm:cxn modelId="{69D8895C-821F-4E0E-A3C2-CD51961B2DB5}" type="presParOf" srcId="{EB592571-92EE-4C79-9958-23E405754F5C}" destId="{FD951881-459A-4051-97E9-8663A48CD3D2}" srcOrd="1" destOrd="0" presId="urn:microsoft.com/office/officeart/2005/8/layout/pyramid3"/>
    <dgm:cxn modelId="{BE55C7FB-3E8B-4B22-B446-9361450C4155}" type="presParOf" srcId="{FD951881-459A-4051-97E9-8663A48CD3D2}" destId="{FD35CE55-21EE-4BAE-B252-F832DD1652FF}" srcOrd="0" destOrd="0" presId="urn:microsoft.com/office/officeart/2005/8/layout/pyramid3"/>
    <dgm:cxn modelId="{C04483FC-CEF0-42C4-85E6-2E9BA7CCA57A}" type="presParOf" srcId="{FD951881-459A-4051-97E9-8663A48CD3D2}" destId="{508C4738-070B-4343-9A14-F5D1C3EEA6D1}" srcOrd="1" destOrd="0" presId="urn:microsoft.com/office/officeart/2005/8/layout/pyramid3"/>
    <dgm:cxn modelId="{82D88CD0-DB61-4DBA-95DF-ABDCC01363FF}" type="presParOf" srcId="{EB592571-92EE-4C79-9958-23E405754F5C}" destId="{42DB58F7-31A1-4433-BAAB-A7C455BD7E8E}" srcOrd="2" destOrd="0" presId="urn:microsoft.com/office/officeart/2005/8/layout/pyramid3"/>
    <dgm:cxn modelId="{3E448744-CE2A-4A50-B568-8C81016AAEA5}" type="presParOf" srcId="{42DB58F7-31A1-4433-BAAB-A7C455BD7E8E}" destId="{04EB9A96-A5AD-40EA-8DA6-7349221F87FD}" srcOrd="0" destOrd="0" presId="urn:microsoft.com/office/officeart/2005/8/layout/pyramid3"/>
    <dgm:cxn modelId="{D7D8F9AC-C3A4-46FC-8F77-500D242C9135}" type="presParOf" srcId="{42DB58F7-31A1-4433-BAAB-A7C455BD7E8E}" destId="{D4B0C798-96C5-4B84-B04C-D3814C9186D4}" srcOrd="1" destOrd="0" presId="urn:microsoft.com/office/officeart/2005/8/layout/pyramid3"/>
    <dgm:cxn modelId="{1A4F26AE-5C13-4849-938A-6E3864E55046}" type="presParOf" srcId="{EB592571-92EE-4C79-9958-23E405754F5C}" destId="{C729BF98-CB92-4377-8F04-46FBC9D44220}" srcOrd="3" destOrd="0" presId="urn:microsoft.com/office/officeart/2005/8/layout/pyramid3"/>
    <dgm:cxn modelId="{C8BE51F4-6638-408D-9813-6B3160C71B50}" type="presParOf" srcId="{C729BF98-CB92-4377-8F04-46FBC9D44220}" destId="{D222BEE6-08A3-48F7-9450-2D4680A277EA}" srcOrd="0" destOrd="0" presId="urn:microsoft.com/office/officeart/2005/8/layout/pyramid3"/>
    <dgm:cxn modelId="{71352A09-BB79-468E-BD1E-806C2C5847A7}" type="presParOf" srcId="{C729BF98-CB92-4377-8F04-46FBC9D44220}" destId="{69FA3C97-C0B8-4884-BD97-E7E27525963F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FC33A4-A63F-4CA4-BBAA-2B2364D93AC4}">
      <dsp:nvSpPr>
        <dsp:cNvPr id="0" name=""/>
        <dsp:cNvSpPr/>
      </dsp:nvSpPr>
      <dsp:spPr>
        <a:xfrm rot="10800000">
          <a:off x="0" y="0"/>
          <a:ext cx="4139951" cy="859450"/>
        </a:xfrm>
        <a:prstGeom prst="trapezoid">
          <a:avLst>
            <a:gd name="adj" fmla="val 60212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>
              <a:solidFill>
                <a:schemeClr val="bg1"/>
              </a:solidFill>
            </a:rPr>
            <a:t>Transactional Data</a:t>
          </a:r>
          <a:endParaRPr lang="en-US" sz="2800" b="1" kern="1200" dirty="0">
            <a:solidFill>
              <a:schemeClr val="bg1"/>
            </a:solidFill>
          </a:endParaRPr>
        </a:p>
      </dsp:txBody>
      <dsp:txXfrm rot="-10800000">
        <a:off x="724491" y="0"/>
        <a:ext cx="2690968" cy="859450"/>
      </dsp:txXfrm>
    </dsp:sp>
    <dsp:sp modelId="{FD35CE55-21EE-4BAE-B252-F832DD1652FF}">
      <dsp:nvSpPr>
        <dsp:cNvPr id="0" name=""/>
        <dsp:cNvSpPr/>
      </dsp:nvSpPr>
      <dsp:spPr>
        <a:xfrm rot="10800000">
          <a:off x="517494" y="859450"/>
          <a:ext cx="3104964" cy="859450"/>
        </a:xfrm>
        <a:prstGeom prst="trapezoid">
          <a:avLst>
            <a:gd name="adj" fmla="val 60212"/>
          </a:avLst>
        </a:prstGeom>
        <a:solidFill>
          <a:schemeClr val="accent1">
            <a:shade val="80000"/>
            <a:hueOff val="102082"/>
            <a:satOff val="-1464"/>
            <a:lumOff val="8538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bg1"/>
              </a:solidFill>
            </a:rPr>
            <a:t>Operational Data &amp; Hierarchies</a:t>
          </a:r>
        </a:p>
      </dsp:txBody>
      <dsp:txXfrm rot="-10800000">
        <a:off x="1060862" y="859450"/>
        <a:ext cx="2018226" cy="859450"/>
      </dsp:txXfrm>
    </dsp:sp>
    <dsp:sp modelId="{04EB9A96-A5AD-40EA-8DA6-7349221F87FD}">
      <dsp:nvSpPr>
        <dsp:cNvPr id="0" name=""/>
        <dsp:cNvSpPr/>
      </dsp:nvSpPr>
      <dsp:spPr>
        <a:xfrm rot="10800000">
          <a:off x="1034988" y="1718901"/>
          <a:ext cx="2069975" cy="859450"/>
        </a:xfrm>
        <a:prstGeom prst="trapezoid">
          <a:avLst>
            <a:gd name="adj" fmla="val 60212"/>
          </a:avLst>
        </a:prstGeom>
        <a:solidFill>
          <a:schemeClr val="accent1">
            <a:shade val="80000"/>
            <a:hueOff val="204164"/>
            <a:satOff val="-2928"/>
            <a:lumOff val="17077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aster Data</a:t>
          </a:r>
          <a:endParaRPr lang="en-US" sz="1800" b="1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 rot="-10800000">
        <a:off x="1397233" y="1718901"/>
        <a:ext cx="1345484" cy="859450"/>
      </dsp:txXfrm>
    </dsp:sp>
    <dsp:sp modelId="{D222BEE6-08A3-48F7-9450-2D4680A277EA}">
      <dsp:nvSpPr>
        <dsp:cNvPr id="0" name=""/>
        <dsp:cNvSpPr/>
      </dsp:nvSpPr>
      <dsp:spPr>
        <a:xfrm rot="10800000">
          <a:off x="1552482" y="2578351"/>
          <a:ext cx="1034987" cy="859450"/>
        </a:xfrm>
        <a:prstGeom prst="trapezoid">
          <a:avLst>
            <a:gd name="adj" fmla="val 60212"/>
          </a:avLst>
        </a:prstGeom>
        <a:solidFill>
          <a:schemeClr val="accent1">
            <a:shade val="80000"/>
            <a:hueOff val="306246"/>
            <a:satOff val="-4392"/>
            <a:lumOff val="25615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Reference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Data</a:t>
          </a:r>
          <a:endParaRPr lang="en-US" sz="1600" b="1" kern="1200" dirty="0">
            <a:solidFill>
              <a:schemeClr val="tx1"/>
            </a:solidFill>
          </a:endParaRPr>
        </a:p>
      </dsp:txBody>
      <dsp:txXfrm rot="-10800000">
        <a:off x="1552482" y="2578351"/>
        <a:ext cx="1034987" cy="8594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4532F2-82FD-4DFB-81AA-D869E890BE68}" type="datetimeFigureOut">
              <a:rPr lang="pt-BR" smtClean="0"/>
              <a:pPr/>
              <a:t>21/01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9D1E6C-B107-4698-BB95-CCB932440896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90516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19010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Timing</a:t>
            </a:r>
          </a:p>
          <a:p>
            <a:pPr marL="171450" indent="-171450">
              <a:buFontTx/>
              <a:buChar char="-"/>
            </a:pPr>
            <a:r>
              <a:rPr lang="pt-BR" dirty="0" smtClean="0"/>
              <a:t>Introdução a SOA (1h)</a:t>
            </a:r>
          </a:p>
          <a:p>
            <a:pPr marL="171450" indent="-171450">
              <a:buFontTx/>
              <a:buChar char="-"/>
            </a:pPr>
            <a:r>
              <a:rPr lang="pt-BR" dirty="0" smtClean="0"/>
              <a:t>Soluções</a:t>
            </a:r>
            <a:r>
              <a:rPr lang="pt-BR" baseline="0" dirty="0" smtClean="0"/>
              <a:t> com SOA (1h)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07564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Timing</a:t>
            </a:r>
          </a:p>
          <a:p>
            <a:pPr marL="171450" indent="-171450">
              <a:buFontTx/>
              <a:buChar char="-"/>
            </a:pPr>
            <a:r>
              <a:rPr lang="pt-BR" dirty="0" smtClean="0"/>
              <a:t>Introdução a SOA (1h)</a:t>
            </a:r>
          </a:p>
          <a:p>
            <a:pPr marL="171450" indent="-171450">
              <a:buFontTx/>
              <a:buChar char="-"/>
            </a:pPr>
            <a:r>
              <a:rPr lang="pt-BR" dirty="0" smtClean="0"/>
              <a:t>Soluções</a:t>
            </a:r>
            <a:r>
              <a:rPr lang="pt-BR" baseline="0" dirty="0" smtClean="0"/>
              <a:t> com SOA (1h)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07564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Versão 1.1 - </a:t>
            </a:r>
            <a:r>
              <a:rPr lang="pt-BR" dirty="0" err="1" smtClean="0"/>
              <a:t>Highlight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4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17012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3420000" y="1634399"/>
            <a:ext cx="5112000" cy="1263600"/>
          </a:xfrm>
        </p:spPr>
        <p:txBody>
          <a:bodyPr>
            <a:normAutofit/>
          </a:bodyPr>
          <a:lstStyle>
            <a:lvl1pPr algn="l">
              <a:defRPr sz="3800" b="1">
                <a:solidFill>
                  <a:schemeClr val="bg1"/>
                </a:solidFill>
              </a:defRPr>
            </a:lvl1pPr>
          </a:lstStyle>
          <a:p>
            <a:r>
              <a:rPr lang="en-US" sz="3800" b="1" dirty="0" err="1" smtClean="0">
                <a:solidFill>
                  <a:schemeClr val="bg1"/>
                </a:solidFill>
                <a:latin typeface="Arial"/>
                <a:cs typeface="Arial"/>
              </a:rPr>
              <a:t>Título</a:t>
            </a:r>
            <a:r>
              <a:rPr lang="en-US" sz="3800" b="1" dirty="0" smtClean="0">
                <a:solidFill>
                  <a:schemeClr val="bg1"/>
                </a:solidFill>
                <a:latin typeface="Arial"/>
                <a:cs typeface="Arial"/>
              </a:rPr>
              <a:t> com </a:t>
            </a:r>
            <a:r>
              <a:rPr lang="en-US" sz="3800" b="1" dirty="0" err="1" smtClean="0">
                <a:solidFill>
                  <a:schemeClr val="bg1"/>
                </a:solidFill>
                <a:latin typeface="Arial"/>
                <a:cs typeface="Arial"/>
              </a:rPr>
              <a:t>letra</a:t>
            </a:r>
            <a:r>
              <a:rPr lang="en-US" sz="3800" b="1" dirty="0" smtClean="0">
                <a:solidFill>
                  <a:schemeClr val="bg1"/>
                </a:solidFill>
                <a:latin typeface="Arial"/>
                <a:cs typeface="Arial"/>
              </a:rPr>
              <a:t> Arial Bold </a:t>
            </a:r>
            <a:r>
              <a:rPr lang="en-US" sz="3800" b="1" dirty="0" err="1" smtClean="0">
                <a:solidFill>
                  <a:schemeClr val="bg1"/>
                </a:solidFill>
                <a:latin typeface="Arial"/>
                <a:cs typeface="Arial"/>
              </a:rPr>
              <a:t>tamanho</a:t>
            </a:r>
            <a:r>
              <a:rPr lang="en-US" sz="3800" b="1" dirty="0" smtClean="0">
                <a:solidFill>
                  <a:schemeClr val="bg1"/>
                </a:solidFill>
                <a:latin typeface="Arial"/>
                <a:cs typeface="Arial"/>
              </a:rPr>
              <a:t> 38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448800" y="2898000"/>
            <a:ext cx="4924800" cy="323165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15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0" lvl="0" defTabSz="457200"/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Referência</a:t>
            </a:r>
            <a:r>
              <a:rPr lang="en-US" sz="1500" dirty="0" smtClean="0">
                <a:solidFill>
                  <a:schemeClr val="bg1"/>
                </a:solidFill>
                <a:latin typeface="Arial"/>
                <a:cs typeface="Arial"/>
              </a:rPr>
              <a:t> (</a:t>
            </a:r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Dpto</a:t>
            </a:r>
            <a:r>
              <a:rPr lang="en-US" sz="1500" dirty="0" smtClean="0">
                <a:solidFill>
                  <a:schemeClr val="bg1"/>
                </a:solidFill>
                <a:latin typeface="Arial"/>
                <a:cs typeface="Arial"/>
              </a:rPr>
              <a:t>, </a:t>
            </a:r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cidade</a:t>
            </a:r>
            <a:r>
              <a:rPr lang="en-US" sz="1500" dirty="0" smtClean="0">
                <a:solidFill>
                  <a:schemeClr val="bg1"/>
                </a:solidFill>
                <a:latin typeface="Arial"/>
                <a:cs typeface="Arial"/>
              </a:rPr>
              <a:t>, etc.) | </a:t>
            </a:r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An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527715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/>
          <p:nvPr userDrawn="1"/>
        </p:nvSpPr>
        <p:spPr>
          <a:xfrm>
            <a:off x="0" y="1407600"/>
            <a:ext cx="9144000" cy="3096344"/>
          </a:xfrm>
          <a:prstGeom prst="rect">
            <a:avLst/>
          </a:prstGeom>
          <a:solidFill>
            <a:schemeClr val="bg1">
              <a:lumMod val="85000"/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spaço Reservado para Gráfico 4"/>
          <p:cNvSpPr>
            <a:spLocks noGrp="1"/>
          </p:cNvSpPr>
          <p:nvPr>
            <p:ph type="chart" sz="quarter" idx="13"/>
          </p:nvPr>
        </p:nvSpPr>
        <p:spPr>
          <a:xfrm>
            <a:off x="665691" y="1724854"/>
            <a:ext cx="3573463" cy="2500312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no ícone para adicionar gráfico</a:t>
            </a:r>
            <a:endParaRPr lang="pt-BR"/>
          </a:p>
        </p:txBody>
      </p:sp>
      <p:sp>
        <p:nvSpPr>
          <p:cNvPr id="9" name="Espaço Reservado para Gráfico 4"/>
          <p:cNvSpPr>
            <a:spLocks noGrp="1"/>
          </p:cNvSpPr>
          <p:nvPr>
            <p:ph type="chart" sz="quarter" idx="14"/>
          </p:nvPr>
        </p:nvSpPr>
        <p:spPr>
          <a:xfrm>
            <a:off x="4904845" y="1724400"/>
            <a:ext cx="3573463" cy="2500312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no ícone para adicionar gráfico</a:t>
            </a:r>
            <a:endParaRPr lang="pt-BR"/>
          </a:p>
        </p:txBody>
      </p:sp>
      <p:sp>
        <p:nvSpPr>
          <p:cNvPr id="15" name="CaixaDeTexto 14"/>
          <p:cNvSpPr txBox="1"/>
          <p:nvPr userDrawn="1"/>
        </p:nvSpPr>
        <p:spPr>
          <a:xfrm>
            <a:off x="406800" y="4870800"/>
            <a:ext cx="5915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Fonte:</a:t>
            </a:r>
            <a:endParaRPr lang="pt-BR" sz="8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Espaço Reservado para Texto 10"/>
          <p:cNvSpPr>
            <a:spLocks noGrp="1"/>
          </p:cNvSpPr>
          <p:nvPr>
            <p:ph type="body" sz="quarter" idx="27" hasCustomPrompt="1"/>
          </p:nvPr>
        </p:nvSpPr>
        <p:spPr>
          <a:xfrm>
            <a:off x="849313" y="4870800"/>
            <a:ext cx="3816000" cy="215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pt-BR" dirty="0" smtClean="0"/>
              <a:t>Modelo de legenda com letra Arial tamanho 8</a:t>
            </a:r>
            <a:endParaRPr lang="pt-BR" dirty="0"/>
          </a:p>
        </p:txBody>
      </p:sp>
      <p:sp>
        <p:nvSpPr>
          <p:cNvPr id="10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800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11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36281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texto verticai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64617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22421" y="2212474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3672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40352" y="4876006"/>
            <a:ext cx="837456" cy="267494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34F21757-CAEC-9B46-BA5E-8BB41E742229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6885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/>
          <p:cNvSpPr>
            <a:spLocks noGrp="1"/>
          </p:cNvSpPr>
          <p:nvPr>
            <p:ph type="body" sz="quarter" idx="10" hasCustomPrompt="1"/>
          </p:nvPr>
        </p:nvSpPr>
        <p:spPr>
          <a:xfrm>
            <a:off x="824400" y="3402000"/>
            <a:ext cx="4809600" cy="954000"/>
          </a:xfr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r>
              <a:rPr lang="en-US" sz="2800" b="1" dirty="0" err="1" smtClean="0">
                <a:solidFill>
                  <a:srgbClr val="FFFFFF"/>
                </a:solidFill>
                <a:latin typeface="Arial"/>
                <a:cs typeface="Arial"/>
              </a:rPr>
              <a:t>Capítulo</a:t>
            </a:r>
            <a:r>
              <a:rPr lang="en-US" sz="2800" b="1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 sz="2800" b="1" dirty="0" err="1" smtClean="0">
                <a:solidFill>
                  <a:srgbClr val="FFFFFF"/>
                </a:solidFill>
                <a:latin typeface="Arial"/>
                <a:cs typeface="Arial"/>
              </a:rPr>
              <a:t>em</a:t>
            </a:r>
            <a:r>
              <a:rPr lang="en-US" sz="2800" b="1" dirty="0" smtClean="0">
                <a:solidFill>
                  <a:srgbClr val="FFFFFF"/>
                </a:solidFill>
                <a:latin typeface="Arial"/>
                <a:cs typeface="Arial"/>
              </a:rPr>
              <a:t> Arial Bold</a:t>
            </a:r>
          </a:p>
          <a:p>
            <a:r>
              <a:rPr lang="en-US" sz="2800" b="1" dirty="0" err="1" smtClean="0">
                <a:solidFill>
                  <a:srgbClr val="FFFFFF"/>
                </a:solidFill>
                <a:latin typeface="Arial"/>
                <a:cs typeface="Arial"/>
              </a:rPr>
              <a:t>tamanho</a:t>
            </a:r>
            <a:r>
              <a:rPr lang="en-US" sz="2800" b="1" dirty="0" smtClean="0">
                <a:solidFill>
                  <a:srgbClr val="FFFFFF"/>
                </a:solidFill>
                <a:latin typeface="Arial"/>
                <a:cs typeface="Arial"/>
              </a:rPr>
              <a:t> 28</a:t>
            </a:r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1445635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 hasCustomPrompt="1"/>
          </p:nvPr>
        </p:nvSpPr>
        <p:spPr>
          <a:xfrm>
            <a:off x="900000" y="2361600"/>
            <a:ext cx="6534000" cy="2160000"/>
          </a:xfrm>
        </p:spPr>
        <p:txBody>
          <a:bodyPr vert="horz"/>
          <a:lstStyle>
            <a:lvl1pPr>
              <a:defRPr lang="pt-BR" sz="1400" b="1" baseline="0" dirty="0">
                <a:latin typeface="Arial"/>
                <a:ea typeface="+mj-ea"/>
                <a:cs typeface="Arial"/>
              </a:defRPr>
            </a:lvl1pPr>
          </a:lstStyle>
          <a:p>
            <a:pPr marL="0" lvl="0" defTabSz="457200">
              <a:lnSpc>
                <a:spcPct val="120000"/>
              </a:lnSpc>
              <a:spcBef>
                <a:spcPct val="0"/>
              </a:spcBef>
              <a:buNone/>
            </a:pPr>
            <a:r>
              <a:rPr lang="x-none" smtClean="0">
                <a:solidFill>
                  <a:schemeClr val="tx1"/>
                </a:solidFill>
              </a:rPr>
              <a:t>01  Página de text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2  Exemplo de destaque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6  Exemplo de subtítul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7  Modelo de Capa para Capítul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9  Aplicações com imagens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20  Modelo de tabela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</a:p>
          <a:p>
            <a:pPr marL="0" lvl="0" defTabSz="457200">
              <a:lnSpc>
                <a:spcPct val="120000"/>
              </a:lnSpc>
              <a:spcBef>
                <a:spcPct val="0"/>
              </a:spcBef>
              <a:buNone/>
            </a:pPr>
            <a:r>
              <a:rPr lang="x-none" smtClean="0">
                <a:solidFill>
                  <a:schemeClr val="tx1"/>
                </a:solidFill>
              </a:rPr>
              <a:t>21  Modelo de Gráfic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>
            <a:lvl1pPr>
              <a:defRPr lang="pt-BR" smtClean="0"/>
            </a:lvl1pPr>
          </a:lstStyle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Text Box 36"/>
          <p:cNvSpPr txBox="1">
            <a:spLocks noChangeArrowheads="1"/>
          </p:cNvSpPr>
          <p:nvPr userDrawn="1"/>
        </p:nvSpPr>
        <p:spPr bwMode="auto">
          <a:xfrm>
            <a:off x="899592" y="277366"/>
            <a:ext cx="36294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pt-PT" altLang="ja-JP" b="1" dirty="0">
                <a:solidFill>
                  <a:srgbClr val="009AA6"/>
                </a:solidFill>
                <a:latin typeface="Arial"/>
                <a:cs typeface="Arial"/>
              </a:rPr>
              <a:t>Sumário Executivo</a:t>
            </a:r>
            <a:endParaRPr lang="pt-PT" b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9" name="Text Box 36"/>
          <p:cNvSpPr txBox="1">
            <a:spLocks noChangeArrowheads="1"/>
          </p:cNvSpPr>
          <p:nvPr userDrawn="1"/>
        </p:nvSpPr>
        <p:spPr bwMode="auto">
          <a:xfrm>
            <a:off x="900000" y="1848842"/>
            <a:ext cx="235743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pt-PT" altLang="ja-JP" b="1" dirty="0">
                <a:solidFill>
                  <a:srgbClr val="009AA6"/>
                </a:solidFill>
                <a:latin typeface="Arial"/>
                <a:cs typeface="Arial"/>
              </a:rPr>
              <a:t>Índice</a:t>
            </a:r>
            <a:endParaRPr lang="pt-PT" b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 hasCustomPrompt="1"/>
          </p:nvPr>
        </p:nvSpPr>
        <p:spPr>
          <a:xfrm>
            <a:off x="900113" y="777600"/>
            <a:ext cx="6170400" cy="856800"/>
          </a:xfrm>
        </p:spPr>
        <p:txBody>
          <a:bodyPr vert="horz"/>
          <a:lstStyle>
            <a:lvl1pPr>
              <a:defRPr lang="pt-BR" sz="1400" b="0" baseline="0" dirty="0" smtClean="0">
                <a:solidFill>
                  <a:srgbClr val="0000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lvl="0" defTabSz="457200">
              <a:lnSpc>
                <a:spcPct val="120000"/>
              </a:lnSpc>
              <a:spcBef>
                <a:spcPct val="0"/>
              </a:spcBef>
              <a:buNone/>
            </a:pPr>
            <a:r>
              <a:rPr lang="x-none" b="0" smtClean="0">
                <a:solidFill>
                  <a:srgbClr val="000000"/>
                </a:solidFill>
              </a:rPr>
              <a:t>Este é um parágrafo que deve expressar uma síntese do que será apresentado na sequência do documento. Recomenda-se letra Arial tamanho 14.</a:t>
            </a:r>
            <a:endParaRPr lang="pt-BR" b="0" dirty="0" smtClean="0">
              <a:solidFill>
                <a:srgbClr val="000000"/>
              </a:solidFill>
            </a:endParaRPr>
          </a:p>
        </p:txBody>
      </p:sp>
      <p:sp>
        <p:nvSpPr>
          <p:cNvPr id="12" name="Text Box 36"/>
          <p:cNvSpPr txBox="1">
            <a:spLocks noChangeArrowheads="1"/>
          </p:cNvSpPr>
          <p:nvPr userDrawn="1"/>
        </p:nvSpPr>
        <p:spPr bwMode="auto">
          <a:xfrm>
            <a:off x="4499992" y="4443958"/>
            <a:ext cx="23574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pt-PT" altLang="ja-JP" b="1" dirty="0" smtClean="0">
                <a:solidFill>
                  <a:srgbClr val="009AA6"/>
                </a:solidFill>
                <a:latin typeface="Arial"/>
                <a:cs typeface="Arial"/>
              </a:rPr>
              <a:t>Total de slides:</a:t>
            </a:r>
            <a:endParaRPr lang="pt-PT" b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6300193" y="4442400"/>
            <a:ext cx="504056" cy="369332"/>
          </a:xfr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defRPr lang="pt-BR" sz="1800" b="1" dirty="0">
                <a:solidFill>
                  <a:srgbClr val="009AA6"/>
                </a:solidFill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pt-BR" dirty="0" smtClean="0"/>
              <a:t>XX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53383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633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11" hasCustomPrompt="1"/>
          </p:nvPr>
        </p:nvSpPr>
        <p:spPr>
          <a:xfrm>
            <a:off x="432000" y="1357200"/>
            <a:ext cx="8146800" cy="2966400"/>
          </a:xfrm>
          <a:noFill/>
        </p:spPr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001143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633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11" hasCustomPrompt="1"/>
          </p:nvPr>
        </p:nvSpPr>
        <p:spPr>
          <a:xfrm>
            <a:off x="432000" y="1357200"/>
            <a:ext cx="8146800" cy="2555380"/>
          </a:xfrm>
          <a:noFill/>
        </p:spPr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r>
              <a:rPr lang="en-US" sz="1600" b="1" dirty="0" err="1" smtClean="0">
                <a:latin typeface="Arial"/>
                <a:cs typeface="Arial"/>
              </a:rPr>
              <a:t>Subtítulo</a:t>
            </a:r>
            <a:r>
              <a:rPr lang="en-US" sz="1600" b="1" dirty="0" smtClean="0">
                <a:latin typeface="Arial"/>
                <a:cs typeface="Arial"/>
              </a:rPr>
              <a:t> com </a:t>
            </a:r>
            <a:r>
              <a:rPr lang="en-US" sz="1600" b="1" dirty="0" err="1" smtClean="0">
                <a:latin typeface="Arial"/>
                <a:cs typeface="Arial"/>
              </a:rPr>
              <a:t>fonte</a:t>
            </a:r>
            <a:r>
              <a:rPr lang="en-US" sz="1600" b="1" dirty="0" smtClean="0">
                <a:latin typeface="Arial"/>
                <a:cs typeface="Arial"/>
              </a:rPr>
              <a:t> Arial Bold </a:t>
            </a:r>
            <a:r>
              <a:rPr lang="en-US" sz="1600" b="1" dirty="0" err="1" smtClean="0">
                <a:latin typeface="Arial"/>
                <a:cs typeface="Arial"/>
              </a:rPr>
              <a:t>tamanho</a:t>
            </a:r>
            <a:r>
              <a:rPr lang="en-US" sz="1600" b="1" dirty="0" smtClean="0">
                <a:latin typeface="Arial"/>
                <a:cs typeface="Arial"/>
              </a:rPr>
              <a:t> 16</a:t>
            </a:r>
          </a:p>
          <a:p>
            <a:r>
              <a:rPr lang="en-US" sz="1400" dirty="0" err="1" smtClean="0">
                <a:latin typeface="Arial"/>
                <a:cs typeface="Arial"/>
              </a:rPr>
              <a:t>Lor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ipsum</a:t>
            </a:r>
            <a:r>
              <a:rPr lang="en-US" sz="1400" dirty="0" smtClean="0">
                <a:latin typeface="Arial"/>
                <a:cs typeface="Arial"/>
              </a:rPr>
              <a:t> dolor sit </a:t>
            </a:r>
            <a:r>
              <a:rPr lang="en-US" sz="1400" dirty="0" err="1" smtClean="0">
                <a:latin typeface="Arial"/>
                <a:cs typeface="Arial"/>
              </a:rPr>
              <a:t>amet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consectetur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adipiscing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elit</a:t>
            </a:r>
            <a:r>
              <a:rPr lang="en-US" sz="1400" dirty="0" smtClean="0">
                <a:latin typeface="Arial"/>
                <a:cs typeface="Arial"/>
              </a:rPr>
              <a:t>. </a:t>
            </a:r>
            <a:r>
              <a:rPr lang="en-US" sz="1400" dirty="0" err="1" smtClean="0">
                <a:latin typeface="Arial"/>
                <a:cs typeface="Arial"/>
              </a:rPr>
              <a:t>Pellentesque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urn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leo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vehicul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vel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pulvinar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ut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tincidunt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qui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enim</a:t>
            </a:r>
            <a:r>
              <a:rPr lang="en-US" sz="1400" dirty="0" smtClean="0">
                <a:latin typeface="Arial"/>
                <a:cs typeface="Arial"/>
              </a:rPr>
              <a:t>. </a:t>
            </a:r>
          </a:p>
          <a:p>
            <a:endParaRPr lang="en-US" sz="1400" dirty="0" smtClean="0">
              <a:latin typeface="Arial"/>
              <a:cs typeface="Arial"/>
            </a:endParaRPr>
          </a:p>
          <a:p>
            <a:r>
              <a:rPr lang="en-US" sz="1400" dirty="0" err="1" smtClean="0">
                <a:latin typeface="Arial"/>
                <a:cs typeface="Arial"/>
              </a:rPr>
              <a:t>Vestibulu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venenati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ipsu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d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vulputate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eleifend</a:t>
            </a:r>
            <a:r>
              <a:rPr lang="en-US" sz="1400" dirty="0" smtClean="0">
                <a:latin typeface="Arial"/>
                <a:cs typeface="Arial"/>
              </a:rPr>
              <a:t>. Integer </a:t>
            </a:r>
            <a:r>
              <a:rPr lang="en-US" sz="1400" dirty="0" err="1" smtClean="0">
                <a:latin typeface="Arial"/>
                <a:cs typeface="Arial"/>
              </a:rPr>
              <a:t>nunc</a:t>
            </a:r>
            <a:r>
              <a:rPr lang="en-US" sz="1400" dirty="0" smtClean="0">
                <a:latin typeface="Arial"/>
                <a:cs typeface="Arial"/>
              </a:rPr>
              <a:t> quam, dictum </a:t>
            </a:r>
            <a:r>
              <a:rPr lang="en-US" sz="1400" dirty="0" err="1" smtClean="0">
                <a:latin typeface="Arial"/>
                <a:cs typeface="Arial"/>
              </a:rPr>
              <a:t>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ut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variu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agitti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nisl</a:t>
            </a:r>
            <a:r>
              <a:rPr lang="en-US" sz="1400" dirty="0" smtClean="0">
                <a:latin typeface="Arial"/>
                <a:cs typeface="Arial"/>
              </a:rPr>
              <a:t>. </a:t>
            </a:r>
            <a:r>
              <a:rPr lang="en-US" sz="1400" dirty="0" err="1" smtClean="0">
                <a:latin typeface="Arial"/>
                <a:cs typeface="Arial"/>
              </a:rPr>
              <a:t>Aenean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lectu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risus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aliquet</a:t>
            </a:r>
            <a:r>
              <a:rPr lang="en-US" sz="1400" dirty="0" smtClean="0">
                <a:latin typeface="Arial"/>
                <a:cs typeface="Arial"/>
              </a:rPr>
              <a:t> a </a:t>
            </a:r>
            <a:r>
              <a:rPr lang="en-US" sz="1400" dirty="0" err="1" smtClean="0">
                <a:latin typeface="Arial"/>
                <a:cs typeface="Arial"/>
              </a:rPr>
              <a:t>laoreet</a:t>
            </a:r>
            <a:r>
              <a:rPr lang="en-US" sz="1400" dirty="0" smtClean="0">
                <a:latin typeface="Arial"/>
                <a:cs typeface="Arial"/>
              </a:rPr>
              <a:t> non, </a:t>
            </a:r>
            <a:r>
              <a:rPr lang="en-US" sz="1400" dirty="0" err="1" smtClean="0">
                <a:latin typeface="Arial"/>
                <a:cs typeface="Arial"/>
              </a:rPr>
              <a:t>pulvinar</a:t>
            </a:r>
            <a:r>
              <a:rPr lang="en-US" sz="1400" dirty="0" smtClean="0">
                <a:latin typeface="Arial"/>
                <a:cs typeface="Arial"/>
              </a:rPr>
              <a:t> at </a:t>
            </a:r>
            <a:r>
              <a:rPr lang="en-US" sz="1400" dirty="0" err="1" smtClean="0">
                <a:latin typeface="Arial"/>
                <a:cs typeface="Arial"/>
              </a:rPr>
              <a:t>lorem</a:t>
            </a:r>
            <a:r>
              <a:rPr lang="en-US" sz="1400" dirty="0" smtClean="0">
                <a:latin typeface="Arial"/>
                <a:cs typeface="Arial"/>
              </a:rPr>
              <a:t>.</a:t>
            </a:r>
          </a:p>
          <a:p>
            <a:endParaRPr lang="en-US" sz="1400" dirty="0" smtClean="0">
              <a:latin typeface="Arial"/>
              <a:cs typeface="Arial"/>
            </a:endParaRPr>
          </a:p>
          <a:p>
            <a:pPr eaLnBrk="0" hangingPunct="0"/>
            <a:r>
              <a:rPr lang="pt-PT" sz="1400" i="1" dirty="0" smtClean="0">
                <a:latin typeface="Arial"/>
                <a:cs typeface="Arial"/>
              </a:rPr>
              <a:t>Recomenda-se letra Arial tamanho 14. Faça sempre o alinhamento do seu texto à esquerda, sem justificar.</a:t>
            </a:r>
          </a:p>
          <a:p>
            <a:pPr lvl="0" defTabSz="457200">
              <a:lnSpc>
                <a:spcPct val="120000"/>
              </a:lnSpc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016496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633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6" name="CaixaDeTexto 5"/>
          <p:cNvSpPr txBox="1"/>
          <p:nvPr userDrawn="1"/>
        </p:nvSpPr>
        <p:spPr>
          <a:xfrm>
            <a:off x="406800" y="4870800"/>
            <a:ext cx="5915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Fonte:</a:t>
            </a:r>
            <a:endParaRPr lang="pt-BR" sz="8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Espaço Reservado para Texto 10"/>
          <p:cNvSpPr>
            <a:spLocks noGrp="1"/>
          </p:cNvSpPr>
          <p:nvPr>
            <p:ph type="body" sz="quarter" idx="27" hasCustomPrompt="1"/>
          </p:nvPr>
        </p:nvSpPr>
        <p:spPr>
          <a:xfrm>
            <a:off x="849313" y="4870800"/>
            <a:ext cx="3816000" cy="215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pt-BR" dirty="0" smtClean="0"/>
              <a:t>Modelo de legenda com letra Arial tamanho 8</a:t>
            </a:r>
            <a:endParaRPr lang="pt-BR" dirty="0"/>
          </a:p>
        </p:txBody>
      </p:sp>
      <p:sp>
        <p:nvSpPr>
          <p:cNvPr id="10" name="Espaço Reservado para Tabela 9"/>
          <p:cNvSpPr>
            <a:spLocks noGrp="1"/>
          </p:cNvSpPr>
          <p:nvPr>
            <p:ph type="tbl" sz="quarter" idx="28"/>
          </p:nvPr>
        </p:nvSpPr>
        <p:spPr>
          <a:xfrm>
            <a:off x="432000" y="1357200"/>
            <a:ext cx="8330400" cy="2966400"/>
          </a:xfrm>
        </p:spPr>
        <p:txBody>
          <a:bodyPr/>
          <a:lstStyle/>
          <a:p>
            <a:r>
              <a:rPr lang="pt-BR" smtClean="0"/>
              <a:t>Clique no ícone para adicionar tabela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943248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 hasCustomPrompt="1"/>
          </p:nvPr>
        </p:nvSpPr>
        <p:spPr>
          <a:xfrm>
            <a:off x="432000" y="1357199"/>
            <a:ext cx="40386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0" name="Espaço Reservado para Conteúdo 2"/>
          <p:cNvSpPr>
            <a:spLocks noGrp="1"/>
          </p:cNvSpPr>
          <p:nvPr>
            <p:ph sz="half" idx="11" hasCustomPrompt="1"/>
          </p:nvPr>
        </p:nvSpPr>
        <p:spPr>
          <a:xfrm>
            <a:off x="4622400" y="1357200"/>
            <a:ext cx="40386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3532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 hasCustomPrompt="1"/>
          </p:nvPr>
        </p:nvSpPr>
        <p:spPr>
          <a:xfrm>
            <a:off x="432000" y="1357199"/>
            <a:ext cx="26928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0" name="Espaço Reservado para Conteúdo 2"/>
          <p:cNvSpPr>
            <a:spLocks noGrp="1"/>
          </p:cNvSpPr>
          <p:nvPr>
            <p:ph sz="half" idx="11" hasCustomPrompt="1"/>
          </p:nvPr>
        </p:nvSpPr>
        <p:spPr>
          <a:xfrm>
            <a:off x="3276000" y="1357200"/>
            <a:ext cx="26928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6" name="Espaço Reservado para Conteúdo 2"/>
          <p:cNvSpPr>
            <a:spLocks noGrp="1"/>
          </p:cNvSpPr>
          <p:nvPr>
            <p:ph sz="half" idx="12" hasCustomPrompt="1"/>
          </p:nvPr>
        </p:nvSpPr>
        <p:spPr>
          <a:xfrm>
            <a:off x="6120000" y="1357200"/>
            <a:ext cx="26928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703030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 hasCustomPrompt="1"/>
          </p:nvPr>
        </p:nvSpPr>
        <p:spPr>
          <a:xfrm>
            <a:off x="432000" y="1357199"/>
            <a:ext cx="8078400" cy="1080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1" name="Espaço Reservado para Conteúdo 2"/>
          <p:cNvSpPr>
            <a:spLocks noGrp="1"/>
          </p:cNvSpPr>
          <p:nvPr>
            <p:ph sz="half" idx="11" hasCustomPrompt="1"/>
          </p:nvPr>
        </p:nvSpPr>
        <p:spPr>
          <a:xfrm>
            <a:off x="432000" y="2538000"/>
            <a:ext cx="8078400" cy="1080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12" name="Espaço Reservado para Conteúdo 2"/>
          <p:cNvSpPr>
            <a:spLocks noGrp="1"/>
          </p:cNvSpPr>
          <p:nvPr>
            <p:ph sz="half" idx="12" hasCustomPrompt="1"/>
          </p:nvPr>
        </p:nvSpPr>
        <p:spPr>
          <a:xfrm>
            <a:off x="432000" y="3723878"/>
            <a:ext cx="8078400" cy="1080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06804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80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lvl="0" algn="l" defTabSz="457200"/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32000" y="1357200"/>
            <a:ext cx="8146800" cy="601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</a:p>
          <a:p>
            <a:pPr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7436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61" r:id="rId4"/>
    <p:sldLayoutId id="2147483662" r:id="rId5"/>
    <p:sldLayoutId id="2147483666" r:id="rId6"/>
    <p:sldLayoutId id="2147483652" r:id="rId7"/>
    <p:sldLayoutId id="2147483663" r:id="rId8"/>
    <p:sldLayoutId id="2147483664" r:id="rId9"/>
    <p:sldLayoutId id="2147483665" r:id="rId10"/>
    <p:sldLayoutId id="2147483659" r:id="rId11"/>
    <p:sldLayoutId id="2147483667" r:id="rId12"/>
    <p:sldLayoutId id="2147483668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lang="pt-BR" sz="1800" b="1" kern="1200" dirty="0">
          <a:solidFill>
            <a:srgbClr val="009AA6"/>
          </a:solidFill>
          <a:latin typeface="Arial"/>
          <a:ea typeface="+mn-ea"/>
          <a:cs typeface="Arial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400" kern="1200" smtClean="0">
          <a:solidFill>
            <a:schemeClr val="tx1"/>
          </a:solidFill>
          <a:latin typeface="Arial"/>
          <a:ea typeface="+mn-ea"/>
          <a:cs typeface="Arial"/>
        </a:defRPr>
      </a:lvl1pPr>
      <a:lvl2pPr marL="17145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60020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w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wmf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gif"/><Relationship Id="rId3" Type="http://schemas.openxmlformats.org/officeDocument/2006/relationships/image" Target="../media/image27.jpe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34.jpeg"/><Relationship Id="rId4" Type="http://schemas.openxmlformats.org/officeDocument/2006/relationships/image" Target="../media/image28.jpeg"/><Relationship Id="rId9" Type="http://schemas.openxmlformats.org/officeDocument/2006/relationships/image" Target="../media/image3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3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3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hyperlink" Target="http://www.google.com/url?sa=i&amp;rct=j&amp;q=&amp;esrc=s&amp;frm=1&amp;source=images&amp;cd=&amp;cad=rja&amp;uact=8&amp;docid=edD-buL53um6rM&amp;tbnid=_ZDhMXd30Qq73M:&amp;ved=0CAUQjRw&amp;url=http://www.ibm.com/developerworks/rational/library/754.html&amp;ei=poHeU9PADMLIsAT-vIHQBQ&amp;bvm=bv.72197243,d.cWc&amp;psig=AFQjCNF8r3pN87yJaNoc-Vt_F7gVJHq1ng&amp;ust=1407177429275034" TargetMode="External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7.jpeg"/><Relationship Id="rId5" Type="http://schemas.openxmlformats.org/officeDocument/2006/relationships/hyperlink" Target="http://www.google.com/url?sa=i&amp;rct=j&amp;q=&amp;esrc=s&amp;frm=1&amp;source=images&amp;cd=&amp;cad=rja&amp;uact=8&amp;docid=edD-buL53um6rM&amp;tbnid=_ZDhMXd30Qq73M:&amp;ved=0CAUQjRw&amp;url=http://www.ibm.com/developerworks/rational/library/754.html&amp;ei=poHeU9PADMLIsAT-vIHQBQ&amp;bvm=bv.72197243,d.cWc&amp;psig=AFQjCNF8r3pN87yJaNoc-Vt_F7gVJHq1ng&amp;ust=1407177429275034" TargetMode="External"/><Relationship Id="rId4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jpe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/>
          <p:cNvSpPr>
            <a:spLocks noGrp="1"/>
          </p:cNvSpPr>
          <p:nvPr>
            <p:ph type="ctrTitle"/>
          </p:nvPr>
        </p:nvSpPr>
        <p:spPr>
          <a:xfrm>
            <a:off x="3275984" y="1563638"/>
            <a:ext cx="5544488" cy="1800200"/>
          </a:xfrm>
        </p:spPr>
        <p:txBody>
          <a:bodyPr>
            <a:noAutofit/>
          </a:bodyPr>
          <a:lstStyle/>
          <a:p>
            <a:r>
              <a:rPr lang="pt-BR" sz="4000" dirty="0" smtClean="0"/>
              <a:t>Escola SOA</a:t>
            </a:r>
            <a:r>
              <a:rPr lang="pt-BR" sz="2800" dirty="0" smtClean="0"/>
              <a:t/>
            </a:r>
            <a:br>
              <a:rPr lang="pt-BR" sz="2800" dirty="0" smtClean="0"/>
            </a:br>
            <a:r>
              <a:rPr lang="pt-BR" sz="2800" dirty="0" smtClean="0"/>
              <a:t>Módulo I</a:t>
            </a:r>
            <a:br>
              <a:rPr lang="pt-BR" sz="2800" dirty="0" smtClean="0"/>
            </a:br>
            <a:r>
              <a:rPr lang="pt-BR" sz="2400" dirty="0" smtClean="0"/>
              <a:t>Introdução &amp; Arquitetura SOA</a:t>
            </a:r>
            <a:br>
              <a:rPr lang="pt-BR" sz="2400" dirty="0" smtClean="0"/>
            </a:br>
            <a:r>
              <a:rPr lang="pt-BR" sz="2000" dirty="0" smtClean="0"/>
              <a:t>v1.00</a:t>
            </a:r>
            <a:endParaRPr lang="pt-BR" sz="2000" b="0" i="1" dirty="0"/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1157868"/>
              </p:ext>
            </p:extLst>
          </p:nvPr>
        </p:nvGraphicFramePr>
        <p:xfrm>
          <a:off x="3275984" y="3620998"/>
          <a:ext cx="3672408" cy="82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264029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Dir. Arquitetura </a:t>
                      </a:r>
                      <a:r>
                        <a:rPr lang="pt-BR" sz="12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e </a:t>
                      </a:r>
                      <a:r>
                        <a:rPr lang="pt-BR" sz="12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ovas Tecnologias</a:t>
                      </a:r>
                      <a:endParaRPr lang="pt-BR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264029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Ger. Arquitetura de Dados</a:t>
                      </a:r>
                      <a:endParaRPr lang="pt-BR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264029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io de Janeiro</a:t>
                      </a:r>
                      <a:r>
                        <a:rPr lang="pt-BR" sz="12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| 2015</a:t>
                      </a:r>
                      <a:endParaRPr lang="pt-BR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7967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trodução a SOA</a:t>
            </a:r>
            <a:br>
              <a:rPr lang="pt-BR" dirty="0"/>
            </a:br>
            <a:r>
              <a:rPr lang="pt-BR" b="0" i="1" dirty="0" smtClean="0"/>
              <a:t>História - Da Integração P2P a SOA 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0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211960" y="1059582"/>
            <a:ext cx="4464496" cy="3841052"/>
          </a:xfrm>
        </p:spPr>
        <p:txBody>
          <a:bodyPr/>
          <a:lstStyle/>
          <a:p>
            <a:r>
              <a:rPr lang="pt-BR" sz="1600" b="1" dirty="0"/>
              <a:t>Integração Ponto a Ponto (P2P)</a:t>
            </a:r>
          </a:p>
          <a:p>
            <a:r>
              <a:rPr lang="pt-BR" dirty="0" smtClean="0"/>
              <a:t>Para integrar 2 sistemas, só precisamos de definir um </a:t>
            </a:r>
            <a:r>
              <a:rPr lang="pt-BR" b="1" dirty="0" smtClean="0"/>
              <a:t>protocolo de comunicação </a:t>
            </a:r>
            <a:r>
              <a:rPr lang="pt-BR" dirty="0" smtClean="0"/>
              <a:t>(mensagem &amp; transporte) e depois construir e testar as pontas (Interface A-B, Interface B-A)</a:t>
            </a:r>
          </a:p>
          <a:p>
            <a:endParaRPr lang="pt-BR" b="1" dirty="0" smtClean="0"/>
          </a:p>
          <a:p>
            <a:r>
              <a:rPr lang="pt-BR" b="1" dirty="0" smtClean="0"/>
              <a:t>Mas, </a:t>
            </a:r>
            <a:r>
              <a:rPr lang="pt-BR" dirty="0" smtClean="0"/>
              <a:t>quando usamos</a:t>
            </a:r>
            <a:r>
              <a:rPr lang="pt-BR" b="1" dirty="0" smtClean="0"/>
              <a:t> extensamente </a:t>
            </a:r>
            <a:r>
              <a:rPr lang="pt-BR" dirty="0" smtClean="0"/>
              <a:t>integração ponto a ponto </a:t>
            </a:r>
            <a:r>
              <a:rPr lang="pt-BR" u="sng" dirty="0" smtClean="0"/>
              <a:t>sem standards</a:t>
            </a:r>
            <a:r>
              <a:rPr lang="pt-BR" dirty="0" smtClean="0"/>
              <a:t>, deparamo-nos com o seguin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Interdependência complexa entre sistema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Dificuldades em implementar segurança, monitorização e governança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Custos altos de manutenção, suporte e operabilidad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Ferramentas, técnicas e capacidades de integração muito heterogéneas;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491630"/>
            <a:ext cx="3528392" cy="614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47" y="2283718"/>
            <a:ext cx="3180721" cy="2493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to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16383828"/>
              </p:ext>
            </p:extLst>
          </p:nvPr>
        </p:nvGraphicFramePr>
        <p:xfrm>
          <a:off x="2508996" y="4587974"/>
          <a:ext cx="1558948" cy="2160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0" name="Equação" r:id="rId5" imgW="2920680" imgH="406080" progId="Equation.3">
                  <p:embed/>
                </p:oleObj>
              </mc:Choice>
              <mc:Fallback>
                <p:oleObj name="Equação" r:id="rId5" imgW="2920680" imgH="406080" progId="Equation.3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08996" y="4587974"/>
                        <a:ext cx="1558948" cy="21602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44965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1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211960" y="1131590"/>
            <a:ext cx="4464496" cy="3724096"/>
          </a:xfrm>
        </p:spPr>
        <p:txBody>
          <a:bodyPr/>
          <a:lstStyle/>
          <a:p>
            <a:r>
              <a:rPr lang="pt-BR" sz="1600" b="1" dirty="0" smtClean="0"/>
              <a:t>EAI (Enterprise </a:t>
            </a:r>
            <a:r>
              <a:rPr lang="pt-BR" sz="1600" b="1" dirty="0" err="1" smtClean="0"/>
              <a:t>Application</a:t>
            </a:r>
            <a:r>
              <a:rPr lang="pt-BR" sz="1600" b="1" dirty="0" smtClean="0"/>
              <a:t> </a:t>
            </a:r>
            <a:r>
              <a:rPr lang="pt-BR" sz="1600" b="1" dirty="0" err="1" smtClean="0"/>
              <a:t>Integration</a:t>
            </a:r>
            <a:r>
              <a:rPr lang="pt-BR" sz="1600" b="1" dirty="0" smtClean="0"/>
              <a:t>) </a:t>
            </a:r>
            <a:endParaRPr lang="pt-BR" sz="1600" b="1" dirty="0"/>
          </a:p>
          <a:p>
            <a:r>
              <a:rPr lang="pt-BR" dirty="0" smtClean="0"/>
              <a:t>Com ferramentas EAI, podemos reduzir significativamente o número de interfac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Utilizámos estas ferramentas para centralizar a implementação de </a:t>
            </a:r>
            <a:r>
              <a:rPr lang="pt-BR" b="1" dirty="0" smtClean="0"/>
              <a:t>monitorização</a:t>
            </a:r>
            <a:r>
              <a:rPr lang="pt-BR" dirty="0" smtClean="0"/>
              <a:t> e </a:t>
            </a:r>
            <a:r>
              <a:rPr lang="pt-BR" b="1" dirty="0" smtClean="0"/>
              <a:t>segurança</a:t>
            </a:r>
            <a:r>
              <a:rPr lang="pt-BR" dirty="0" smtClean="0"/>
              <a:t> e </a:t>
            </a:r>
            <a:r>
              <a:rPr lang="pt-BR" b="1" dirty="0" smtClean="0"/>
              <a:t>regras de negócio (lógica) </a:t>
            </a:r>
            <a:r>
              <a:rPr lang="pt-BR" dirty="0" smtClean="0"/>
              <a:t>usadas em processos automático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Infelizmente, estas ferramentas utilizavam regularmente </a:t>
            </a:r>
            <a:r>
              <a:rPr lang="pt-BR" b="1" dirty="0" smtClean="0"/>
              <a:t>tecnologia proprietária</a:t>
            </a:r>
            <a:r>
              <a:rPr lang="pt-BR" dirty="0" smtClean="0"/>
              <a:t>:</a:t>
            </a:r>
          </a:p>
          <a:p>
            <a:pPr marL="457200" lvl="1" indent="-285750">
              <a:buFont typeface="Wingdings" panose="05000000000000000000" pitchFamily="2" charset="2"/>
              <a:buChar char="§"/>
            </a:pPr>
            <a:r>
              <a:rPr lang="pt-BR" sz="1200" dirty="0">
                <a:latin typeface="Arial"/>
                <a:cs typeface="Arial"/>
              </a:rPr>
              <a:t>Adaptadores </a:t>
            </a:r>
            <a:r>
              <a:rPr lang="pt-BR" sz="1200" dirty="0" smtClean="0">
                <a:latin typeface="Arial"/>
                <a:cs typeface="Arial"/>
              </a:rPr>
              <a:t>(da ferramenta EAI ou </a:t>
            </a:r>
            <a:r>
              <a:rPr lang="pt-BR" sz="1200" dirty="0">
                <a:latin typeface="Arial"/>
                <a:cs typeface="Arial"/>
              </a:rPr>
              <a:t>dos S</a:t>
            </a:r>
            <a:r>
              <a:rPr lang="pt-BR" sz="1200" dirty="0" smtClean="0">
                <a:latin typeface="Arial"/>
                <a:cs typeface="Arial"/>
              </a:rPr>
              <a:t>istemas)</a:t>
            </a:r>
            <a:endParaRPr lang="pt-BR" sz="1200" dirty="0">
              <a:latin typeface="Arial"/>
              <a:cs typeface="Arial"/>
            </a:endParaRPr>
          </a:p>
          <a:p>
            <a:pPr marL="457200" lvl="1" indent="-285750">
              <a:buFont typeface="Wingdings" panose="05000000000000000000" pitchFamily="2" charset="2"/>
              <a:buChar char="§"/>
            </a:pPr>
            <a:r>
              <a:rPr lang="pt-BR" sz="1200" dirty="0">
                <a:latin typeface="Arial"/>
                <a:cs typeface="Arial"/>
              </a:rPr>
              <a:t>Lógica de Negócio escrita dentro do EAI utilizando linguagens ou tecnologias </a:t>
            </a:r>
            <a:r>
              <a:rPr lang="pt-BR" sz="1200" dirty="0" smtClean="0">
                <a:latin typeface="Arial"/>
                <a:cs typeface="Arial"/>
              </a:rPr>
              <a:t>proprietárias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dirty="0" smtClean="0"/>
              <a:t>E tornou-se assim um </a:t>
            </a:r>
            <a:r>
              <a:rPr lang="pt-BR" b="1" dirty="0" smtClean="0"/>
              <a:t>sistema em si</a:t>
            </a:r>
            <a:r>
              <a:rPr lang="pt-BR" dirty="0" smtClean="0"/>
              <a:t>, sendo ela própria um ponto de falha. Para alterar e/ou retirar a ferramenta de EAI, necessitamos de alterar e/ou retirar todos os adaptadores e lógica de negócio.</a:t>
            </a:r>
            <a:endParaRPr lang="pt-BR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419622"/>
            <a:ext cx="3672408" cy="3068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Introdução a SOA</a:t>
            </a:r>
            <a:br>
              <a:rPr lang="pt-BR" dirty="0"/>
            </a:br>
            <a:r>
              <a:rPr lang="pt-BR" b="0" i="1" dirty="0"/>
              <a:t>História - Da Integração P2P a SOA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2035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trodução a SOA</a:t>
            </a:r>
            <a:br>
              <a:rPr lang="pt-BR" dirty="0"/>
            </a:br>
            <a:r>
              <a:rPr lang="pt-BR" b="0" i="1" dirty="0"/>
              <a:t>História - Da Integração P2P a SOA 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2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211960" y="1131590"/>
            <a:ext cx="4464496" cy="3742563"/>
          </a:xfrm>
        </p:spPr>
        <p:txBody>
          <a:bodyPr/>
          <a:lstStyle/>
          <a:p>
            <a:r>
              <a:rPr lang="pt-BR" sz="1600" b="1" dirty="0" smtClean="0"/>
              <a:t>Integração baseada em Standards (WS) </a:t>
            </a:r>
            <a:endParaRPr lang="pt-BR" sz="1600" b="1" dirty="0"/>
          </a:p>
          <a:p>
            <a:r>
              <a:rPr lang="pt-BR" dirty="0" smtClean="0"/>
              <a:t>Idealmente, se todos os sistemas comunicassem via standards, não era necessário ter adaptadores ou ferramentas EA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Todos os sistemas poderiam e/ou deveriam disponibilizar as suas funcionalidades e informações sobre </a:t>
            </a:r>
            <a:r>
              <a:rPr lang="pt-BR" b="1" dirty="0" smtClean="0"/>
              <a:t>protocolos standard </a:t>
            </a:r>
            <a:r>
              <a:rPr lang="pt-BR" dirty="0" smtClean="0"/>
              <a:t>(e.g. SOAP over HTTP ou JMS) e seriam responsáveis por desenvolver e manter estes interface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Um </a:t>
            </a:r>
            <a:r>
              <a:rPr lang="pt-BR" b="1" dirty="0" smtClean="0"/>
              <a:t>modelo comum de mensagens </a:t>
            </a:r>
            <a:r>
              <a:rPr lang="pt-BR" dirty="0" smtClean="0"/>
              <a:t>deveria ser acordado entre sistemas (HL7, SWIFT, etc..)</a:t>
            </a:r>
          </a:p>
          <a:p>
            <a:r>
              <a:rPr lang="pt-BR" b="1" dirty="0" smtClean="0"/>
              <a:t>Infelizmente</a:t>
            </a:r>
            <a:r>
              <a:rPr lang="pt-BR" dirty="0" smtClean="0"/>
              <a:t>, não há uma forma óbvia de gerir </a:t>
            </a:r>
            <a:r>
              <a:rPr lang="pt-BR" b="1" dirty="0" smtClean="0"/>
              <a:t>centralmente</a:t>
            </a:r>
            <a:r>
              <a:rPr lang="pt-BR" dirty="0" smtClean="0"/>
              <a:t> a segurança e monitorização dos serviços e/ou interfaces e existem ainda hoje </a:t>
            </a:r>
            <a:r>
              <a:rPr lang="pt-BR" b="1" dirty="0" smtClean="0"/>
              <a:t>problemas</a:t>
            </a:r>
            <a:r>
              <a:rPr lang="pt-BR" dirty="0" smtClean="0"/>
              <a:t> para definir um modelo de mensagens comum entre sistemas;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419622"/>
            <a:ext cx="3800314" cy="3168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62419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trodução a SOA</a:t>
            </a:r>
            <a:br>
              <a:rPr lang="pt-BR" dirty="0"/>
            </a:br>
            <a:r>
              <a:rPr lang="pt-BR" b="0" i="1" dirty="0"/>
              <a:t>História - Da Integração P2P a SOA 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3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211960" y="1090354"/>
            <a:ext cx="4464496" cy="3785652"/>
          </a:xfrm>
        </p:spPr>
        <p:txBody>
          <a:bodyPr/>
          <a:lstStyle/>
          <a:p>
            <a:r>
              <a:rPr lang="pt-BR" sz="1600" b="1" dirty="0" smtClean="0"/>
              <a:t>Barramento Corporativo (ESB)</a:t>
            </a:r>
            <a:endParaRPr lang="pt-BR" sz="1600" b="1" dirty="0"/>
          </a:p>
          <a:p>
            <a:r>
              <a:rPr lang="pt-BR" dirty="0" smtClean="0"/>
              <a:t>O Barramento (Service Bus), como </a:t>
            </a:r>
            <a:r>
              <a:rPr lang="pt-BR" b="1" dirty="0" smtClean="0"/>
              <a:t>padrão de arquitetura</a:t>
            </a:r>
            <a:r>
              <a:rPr lang="pt-BR" dirty="0" smtClean="0"/>
              <a:t>, surge naturalmente para acomodar os </a:t>
            </a:r>
            <a:r>
              <a:rPr lang="pt-BR" b="1" dirty="0" smtClean="0"/>
              <a:t>benefícios</a:t>
            </a:r>
            <a:r>
              <a:rPr lang="pt-BR" dirty="0" smtClean="0"/>
              <a:t> de uma integração baseada em standards e como forma de gerir centralmente a segurança, monitorização e governança dos serviços (interfaces).</a:t>
            </a:r>
          </a:p>
          <a:p>
            <a:r>
              <a:rPr lang="pt-BR" dirty="0" smtClean="0"/>
              <a:t>Eles tornam-se também centrais para outros componentes necessários a uma </a:t>
            </a:r>
            <a:r>
              <a:rPr lang="pt-BR" b="1" dirty="0" smtClean="0"/>
              <a:t>Arquitetura de Serviços (SOA)</a:t>
            </a:r>
            <a:r>
              <a:rPr lang="pt-BR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Adaptadores (para converter Mensagens e Protocolos de Transporte, caso os sistemas ainda não utilizem os </a:t>
            </a:r>
            <a:r>
              <a:rPr lang="pt-BR" b="1" dirty="0" smtClean="0"/>
              <a:t>standards</a:t>
            </a:r>
            <a:r>
              <a:rPr lang="pt-BR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Motores de Orquestração, caso queiramos criar serviços compostos ou automatizar processos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Motores de Regras, para centralizar as regras de negócio utilizados em serviços compostos;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164089"/>
            <a:ext cx="3024336" cy="3639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1345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Introdução a SOA</a:t>
            </a:r>
            <a:br>
              <a:rPr lang="pt-BR" dirty="0" smtClean="0"/>
            </a:br>
            <a:r>
              <a:rPr lang="pt-BR" b="0" i="1" dirty="0" smtClean="0"/>
              <a:t>Definindo SOA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4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131590"/>
            <a:ext cx="8146800" cy="830997"/>
          </a:xfrm>
        </p:spPr>
        <p:txBody>
          <a:bodyPr/>
          <a:lstStyle/>
          <a:p>
            <a:r>
              <a:rPr lang="pt-BR" sz="16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ervice Oriented Architecture (SOA)</a:t>
            </a:r>
            <a:r>
              <a:rPr lang="pt-BR" sz="16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BR" sz="16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(ou Arquitetura Orientada a Serviços) é </a:t>
            </a:r>
            <a:r>
              <a:rPr lang="pt-BR" sz="1600" dirty="0" smtClean="0">
                <a:latin typeface="Arial" pitchFamily="34" charset="0"/>
                <a:cs typeface="Arial" pitchFamily="34" charset="0"/>
              </a:rPr>
              <a:t>uma </a:t>
            </a:r>
            <a:r>
              <a:rPr lang="pt-BR" sz="1600" u="sng" dirty="0" smtClean="0">
                <a:latin typeface="Arial" pitchFamily="34" charset="0"/>
                <a:cs typeface="Arial" pitchFamily="34" charset="0"/>
              </a:rPr>
              <a:t>abordagem arquitetural</a:t>
            </a:r>
            <a:r>
              <a:rPr lang="pt-BR" sz="1600" dirty="0" smtClean="0">
                <a:latin typeface="Arial" pitchFamily="34" charset="0"/>
                <a:cs typeface="Arial" pitchFamily="34" charset="0"/>
              </a:rPr>
              <a:t> para o desenvolvimento e integração de sistemas, aplicações e processos de negócio.</a:t>
            </a:r>
            <a:endParaRPr lang="pt-BR" sz="16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Espaço Reservado para Conteúdo 3"/>
          <p:cNvSpPr txBox="1">
            <a:spLocks/>
          </p:cNvSpPr>
          <p:nvPr/>
        </p:nvSpPr>
        <p:spPr>
          <a:xfrm>
            <a:off x="4068688" y="1995686"/>
            <a:ext cx="4582914" cy="2653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 smtClean="0"/>
              <a:t>Serviços são </a:t>
            </a:r>
            <a:r>
              <a:rPr lang="pt-BR" sz="1600" b="1" dirty="0" smtClean="0"/>
              <a:t>componentes de software </a:t>
            </a:r>
            <a:r>
              <a:rPr lang="pt-BR" sz="1600" u="sng" dirty="0" smtClean="0"/>
              <a:t>desacoplados</a:t>
            </a:r>
            <a:r>
              <a:rPr lang="pt-BR" sz="1600" dirty="0" smtClean="0"/>
              <a:t> e </a:t>
            </a:r>
            <a:r>
              <a:rPr lang="pt-BR" sz="1600" u="sng" dirty="0" smtClean="0"/>
              <a:t>reutilizáveis</a:t>
            </a:r>
            <a:r>
              <a:rPr lang="pt-BR" sz="1600" dirty="0" smtClean="0"/>
              <a:t>, baseados em </a:t>
            </a:r>
            <a:r>
              <a:rPr lang="pt-BR" sz="1600" u="sng" dirty="0" smtClean="0"/>
              <a:t>standards</a:t>
            </a:r>
            <a:r>
              <a:rPr lang="pt-BR" sz="1600" dirty="0" smtClean="0"/>
              <a:t>, e que tipicamente suportam processos de negócio.</a:t>
            </a:r>
          </a:p>
          <a:p>
            <a:endParaRPr lang="pt-BR" sz="1600" dirty="0" smtClean="0"/>
          </a:p>
          <a:p>
            <a:r>
              <a:rPr lang="pt-BR" sz="1600" dirty="0" smtClean="0"/>
              <a:t>Numa </a:t>
            </a:r>
            <a:r>
              <a:rPr lang="pt-BR" sz="1600" b="1" dirty="0" smtClean="0"/>
              <a:t>Arquitetura </a:t>
            </a:r>
            <a:r>
              <a:rPr lang="pt-BR" sz="1600" b="1" dirty="0"/>
              <a:t>O</a:t>
            </a:r>
            <a:r>
              <a:rPr lang="pt-BR" sz="1600" b="1" dirty="0" smtClean="0"/>
              <a:t>rientada a Serviços</a:t>
            </a:r>
            <a:r>
              <a:rPr lang="pt-BR" sz="1600" dirty="0" smtClean="0"/>
              <a:t>, os serviços podem ser diretamente </a:t>
            </a:r>
            <a:r>
              <a:rPr lang="pt-BR" sz="1600" b="1" dirty="0" smtClean="0"/>
              <a:t>consumidos por sistemas </a:t>
            </a:r>
            <a:r>
              <a:rPr lang="pt-BR" sz="1600" dirty="0" smtClean="0"/>
              <a:t>ou podem ser </a:t>
            </a:r>
            <a:r>
              <a:rPr lang="pt-BR" sz="1600" b="1" dirty="0" smtClean="0"/>
              <a:t>orquestrados</a:t>
            </a:r>
            <a:r>
              <a:rPr lang="pt-BR" sz="1600" dirty="0" smtClean="0"/>
              <a:t> para criar outros serviços compostos ou processos de negócio automatizados.</a:t>
            </a:r>
            <a:endParaRPr lang="pt-BR" sz="1600" dirty="0"/>
          </a:p>
        </p:txBody>
      </p:sp>
      <p:pic>
        <p:nvPicPr>
          <p:cNvPr id="8" name="Rectangle 917507"/>
          <p:cNvPicPr>
            <a:picLocks noChangeAspect="1" noChangeArrowheads="1"/>
          </p:cNvPicPr>
          <p:nvPr/>
        </p:nvPicPr>
        <p:blipFill>
          <a:blip r:embed="rId2" cstate="print"/>
          <a:srcRect r="9100"/>
          <a:stretch>
            <a:fillRect/>
          </a:stretch>
        </p:blipFill>
        <p:spPr bwMode="auto">
          <a:xfrm>
            <a:off x="611560" y="2056477"/>
            <a:ext cx="2952328" cy="2387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65670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trodução a SOA</a:t>
            </a:r>
            <a:br>
              <a:rPr lang="pt-BR" dirty="0"/>
            </a:br>
            <a:r>
              <a:rPr lang="pt-BR" b="0" i="1" dirty="0" smtClean="0"/>
              <a:t>SOA e outros tipos de Integração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5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5004048" y="1203598"/>
            <a:ext cx="3816424" cy="3342453"/>
          </a:xfrm>
        </p:spPr>
        <p:txBody>
          <a:bodyPr/>
          <a:lstStyle/>
          <a:p>
            <a:r>
              <a:rPr lang="pt-BR" sz="1600" dirty="0" smtClean="0"/>
              <a:t>Sistemas e/ou Aplicações podem ser integradas a diferentes níve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A cada nível podem ser usadas técnicas e formas diversas de integraçã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A </a:t>
            </a:r>
            <a:r>
              <a:rPr lang="pt-BR" b="1" dirty="0" smtClean="0"/>
              <a:t>Arquitetura de Referência SOA </a:t>
            </a:r>
            <a:r>
              <a:rPr lang="pt-BR" dirty="0" smtClean="0"/>
              <a:t>da Oi provê funcionalidades que endereçam os problemas do espaço tradicional de </a:t>
            </a:r>
            <a:r>
              <a:rPr lang="pt-BR" b="1" dirty="0" smtClean="0"/>
              <a:t>Integração de Sistema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E baseia-se na resolução destes problemas através da utilização de </a:t>
            </a:r>
            <a:r>
              <a:rPr lang="pt-BR" b="1" dirty="0" smtClean="0"/>
              <a:t>standards</a:t>
            </a:r>
            <a:r>
              <a:rPr lang="pt-BR" dirty="0" smtClean="0"/>
              <a:t> de Arquitetura a nível de Protocolos de Transporte e de Mensagens </a:t>
            </a:r>
            <a:r>
              <a:rPr lang="pt-BR" b="1" dirty="0" smtClean="0"/>
              <a:t>(Focus SOA)</a:t>
            </a:r>
          </a:p>
          <a:p>
            <a:endParaRPr lang="pt-BR" dirty="0" smtClean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080119"/>
            <a:ext cx="4392488" cy="3730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tângulo de cantos arredondados 5"/>
          <p:cNvSpPr/>
          <p:nvPr/>
        </p:nvSpPr>
        <p:spPr>
          <a:xfrm>
            <a:off x="395536" y="2211710"/>
            <a:ext cx="2952328" cy="144016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793727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Introdução a SOA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Conceitos Gerais sobre Serviços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16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563888" y="1203598"/>
            <a:ext cx="5014912" cy="1384995"/>
          </a:xfrm>
        </p:spPr>
        <p:txBody>
          <a:bodyPr/>
          <a:lstStyle/>
          <a:p>
            <a:r>
              <a:rPr lang="pt-BR" dirty="0" smtClean="0"/>
              <a:t>Um </a:t>
            </a:r>
            <a:r>
              <a:rPr lang="pt-BR" b="1" dirty="0"/>
              <a:t>S</a:t>
            </a:r>
            <a:r>
              <a:rPr lang="pt-BR" b="1" dirty="0" smtClean="0"/>
              <a:t>erviço</a:t>
            </a:r>
            <a:r>
              <a:rPr lang="pt-BR" dirty="0" smtClean="0"/>
              <a:t> é um componente que disponibiliza a um </a:t>
            </a:r>
            <a:r>
              <a:rPr lang="pt-BR" u="sng" dirty="0" smtClean="0"/>
              <a:t>consumido</a:t>
            </a:r>
            <a:r>
              <a:rPr lang="pt-BR" dirty="0" smtClean="0"/>
              <a:t>r uma determinada </a:t>
            </a:r>
            <a:r>
              <a:rPr lang="pt-BR" b="1" dirty="0" smtClean="0"/>
              <a:t>funcionalidade</a:t>
            </a:r>
            <a:r>
              <a:rPr lang="pt-BR" dirty="0" smtClean="0"/>
              <a:t> (ou </a:t>
            </a:r>
            <a:r>
              <a:rPr lang="pt-BR" b="1" dirty="0" smtClean="0"/>
              <a:t>informação</a:t>
            </a:r>
            <a:r>
              <a:rPr lang="pt-BR" dirty="0" smtClean="0"/>
              <a:t>) de um ou vários sistemas (ou aplicações) </a:t>
            </a:r>
            <a:r>
              <a:rPr lang="pt-BR" u="sng" dirty="0" smtClean="0"/>
              <a:t>provedoras</a:t>
            </a:r>
            <a:r>
              <a:rPr lang="pt-BR" dirty="0" smtClean="0"/>
              <a:t>. O consumidor pede esta funcionalidade através de </a:t>
            </a:r>
            <a:r>
              <a:rPr lang="pt-BR" b="1" dirty="0" smtClean="0"/>
              <a:t>requisições </a:t>
            </a:r>
            <a:r>
              <a:rPr lang="pt-BR" dirty="0" smtClean="0"/>
              <a:t>comunicadas via </a:t>
            </a:r>
            <a:r>
              <a:rPr lang="pt-BR" b="1" dirty="0" smtClean="0"/>
              <a:t>mensagens</a:t>
            </a:r>
            <a:r>
              <a:rPr lang="pt-BR" dirty="0" smtClean="0"/>
              <a:t>. O </a:t>
            </a:r>
            <a:r>
              <a:rPr lang="pt-BR" b="1" dirty="0" smtClean="0"/>
              <a:t>Barramento </a:t>
            </a:r>
            <a:r>
              <a:rPr lang="pt-BR" dirty="0" smtClean="0"/>
              <a:t>servirá de intermediário para esta comunicação.</a:t>
            </a:r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5011206"/>
              </p:ext>
            </p:extLst>
          </p:nvPr>
        </p:nvGraphicFramePr>
        <p:xfrm>
          <a:off x="1115616" y="3291830"/>
          <a:ext cx="6480720" cy="15487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96"/>
                <a:gridCol w="5616624"/>
              </a:tblGrid>
              <a:tr h="360039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Visão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Descrição/Questões</a:t>
                      </a:r>
                      <a:r>
                        <a:rPr lang="pt-BR" sz="1400" baseline="0" dirty="0" smtClean="0"/>
                        <a:t> a serem respondidas</a:t>
                      </a:r>
                      <a:endParaRPr lang="pt-BR" sz="1400" dirty="0"/>
                    </a:p>
                  </a:txBody>
                  <a:tcPr/>
                </a:tc>
              </a:tr>
              <a:tr h="343272">
                <a:tc>
                  <a:txBody>
                    <a:bodyPr/>
                    <a:lstStyle/>
                    <a:p>
                      <a:r>
                        <a:rPr lang="pt-BR" sz="1200" b="1" u="sng" dirty="0" smtClean="0"/>
                        <a:t>S</a:t>
                      </a:r>
                      <a:r>
                        <a:rPr lang="pt-BR" sz="1200" b="1" dirty="0" smtClean="0"/>
                        <a:t>emântica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O que o</a:t>
                      </a:r>
                      <a:r>
                        <a:rPr lang="pt-BR" sz="1200" baseline="0" dirty="0" smtClean="0"/>
                        <a:t> serviço faz? O que significa cada atributo da mensagem, como se deve comportar em caso de erros,  o que deve ser monitorado, etc..</a:t>
                      </a:r>
                      <a:endParaRPr lang="pt-BR" sz="1200" dirty="0"/>
                    </a:p>
                  </a:txBody>
                  <a:tcPr/>
                </a:tc>
              </a:tr>
              <a:tr h="127496">
                <a:tc>
                  <a:txBody>
                    <a:bodyPr/>
                    <a:lstStyle/>
                    <a:p>
                      <a:r>
                        <a:rPr lang="pt-BR" sz="1200" b="1" u="sng" dirty="0" smtClean="0"/>
                        <a:t>S</a:t>
                      </a:r>
                      <a:r>
                        <a:rPr lang="pt-BR" sz="1200" b="1" dirty="0" smtClean="0"/>
                        <a:t>intaxe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noProof="0" dirty="0" smtClean="0"/>
                        <a:t>Documentos WSDL, XML Schemas, Regras</a:t>
                      </a:r>
                      <a:r>
                        <a:rPr lang="pt-BR" sz="1200" baseline="0" noProof="0" dirty="0" smtClean="0"/>
                        <a:t> de Validação, Detalhes do Transporte</a:t>
                      </a:r>
                      <a:endParaRPr lang="pt-BR" sz="1200" noProof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b="1" u="sng" dirty="0" smtClean="0"/>
                        <a:t>S</a:t>
                      </a:r>
                      <a:r>
                        <a:rPr lang="pt-BR" sz="1200" b="1" dirty="0" smtClean="0"/>
                        <a:t>LA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noProof="0" dirty="0" smtClean="0"/>
                        <a:t>Quando estará</a:t>
                      </a:r>
                      <a:r>
                        <a:rPr lang="pt-BR" sz="1200" baseline="0" noProof="0" dirty="0" smtClean="0"/>
                        <a:t> disponível? Disponibilidade%? Garante o processamento? Performance base (requisições/s), quando se espera que seja desativado/”</a:t>
                      </a:r>
                      <a:r>
                        <a:rPr lang="pt-BR" sz="1200" baseline="0" noProof="0" dirty="0" err="1" smtClean="0"/>
                        <a:t>deprecated</a:t>
                      </a:r>
                      <a:r>
                        <a:rPr lang="pt-BR" sz="1200" baseline="0" noProof="0" dirty="0" smtClean="0"/>
                        <a:t>”?</a:t>
                      </a:r>
                      <a:endParaRPr lang="pt-BR" sz="1200" noProof="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Espaço Reservado para Conteúdo 3"/>
          <p:cNvSpPr txBox="1">
            <a:spLocks/>
          </p:cNvSpPr>
          <p:nvPr/>
        </p:nvSpPr>
        <p:spPr>
          <a:xfrm>
            <a:off x="755576" y="2696602"/>
            <a:ext cx="76328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É através dum </a:t>
            </a:r>
            <a:r>
              <a:rPr lang="pt-BR" b="1" dirty="0" smtClean="0"/>
              <a:t>Contrato</a:t>
            </a:r>
            <a:r>
              <a:rPr lang="pt-BR" dirty="0" smtClean="0"/>
              <a:t> (i.e. WSDL) bem definido que se </a:t>
            </a:r>
            <a:r>
              <a:rPr lang="pt-BR" b="1" dirty="0" smtClean="0"/>
              <a:t>comunica a funcionalidade </a:t>
            </a:r>
            <a:r>
              <a:rPr lang="pt-BR" dirty="0" smtClean="0"/>
              <a:t>disponibilizada a um consumidor, que deverá ter 3 visões (3S) : </a:t>
            </a:r>
            <a:r>
              <a:rPr lang="pt-BR" b="1" dirty="0" smtClean="0"/>
              <a:t>Semântica, Sintaxe, SLA</a:t>
            </a:r>
            <a:endParaRPr lang="pt-BR" b="1" dirty="0"/>
          </a:p>
        </p:txBody>
      </p:sp>
      <p:pic>
        <p:nvPicPr>
          <p:cNvPr id="34821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747" y="1131590"/>
            <a:ext cx="2905125" cy="143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54333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824400" y="3402000"/>
            <a:ext cx="6843944" cy="954000"/>
          </a:xfrm>
        </p:spPr>
        <p:txBody>
          <a:bodyPr/>
          <a:lstStyle/>
          <a:p>
            <a:r>
              <a:rPr lang="pt-BR" dirty="0" smtClean="0"/>
              <a:t>Soluções com SOA</a:t>
            </a:r>
          </a:p>
        </p:txBody>
      </p:sp>
    </p:spTree>
    <p:extLst>
      <p:ext uri="{BB962C8B-B14F-4D97-AF65-F5344CB8AC3E}">
        <p14:creationId xmlns:p14="http://schemas.microsoft.com/office/powerpoint/2010/main" val="2556714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oluções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Tecnologias </a:t>
            </a:r>
            <a:r>
              <a:rPr lang="pt-BR" b="0" i="1" dirty="0"/>
              <a:t>&amp;</a:t>
            </a:r>
            <a:r>
              <a:rPr lang="pt-BR" b="0" i="1" dirty="0" smtClean="0"/>
              <a:t> Maturidade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8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539552" y="1275606"/>
            <a:ext cx="7992888" cy="880241"/>
          </a:xfrm>
        </p:spPr>
        <p:txBody>
          <a:bodyPr/>
          <a:lstStyle/>
          <a:p>
            <a:r>
              <a:rPr lang="pt-BR" sz="1600" dirty="0" smtClean="0"/>
              <a:t>Uma </a:t>
            </a:r>
            <a:r>
              <a:rPr lang="pt-BR" sz="1600" b="1" dirty="0"/>
              <a:t>a</a:t>
            </a:r>
            <a:r>
              <a:rPr lang="pt-BR" sz="1600" b="1" dirty="0" smtClean="0"/>
              <a:t>rquitetura orientada a serviços </a:t>
            </a:r>
            <a:r>
              <a:rPr lang="pt-BR" sz="1600" dirty="0" smtClean="0"/>
              <a:t>(SOA) constrói-se duma </a:t>
            </a:r>
            <a:r>
              <a:rPr lang="pt-BR" sz="1600" b="1" dirty="0" smtClean="0"/>
              <a:t>forma iterativa </a:t>
            </a:r>
            <a:r>
              <a:rPr lang="pt-BR" sz="1600" dirty="0" smtClean="0"/>
              <a:t>com os diferentes projetos de Negócio e TI, trabalhado conjuntamente. </a:t>
            </a:r>
          </a:p>
          <a:p>
            <a:r>
              <a:rPr lang="pt-BR" sz="1600" dirty="0" smtClean="0"/>
              <a:t>A introdução dum novo paradigma é sempre </a:t>
            </a:r>
            <a:r>
              <a:rPr lang="pt-BR" sz="1600" b="1" u="sng" dirty="0" smtClean="0"/>
              <a:t>faseada</a:t>
            </a:r>
            <a:r>
              <a:rPr lang="pt-BR" sz="1600" dirty="0" smtClean="0"/>
              <a:t>. </a:t>
            </a:r>
            <a:endParaRPr lang="pt-BR" sz="1600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3" y="2211710"/>
            <a:ext cx="6624736" cy="25806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6171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Introdução a SOA</a:t>
            </a:r>
            <a:br>
              <a:rPr lang="pt-BR" dirty="0" smtClean="0"/>
            </a:br>
            <a:r>
              <a:rPr lang="pt-BR" b="0" i="1" dirty="0" smtClean="0"/>
              <a:t>Discussão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9</a:t>
            </a:fld>
            <a:endParaRPr lang="pt-BR" dirty="0"/>
          </a:p>
        </p:txBody>
      </p:sp>
      <p:sp>
        <p:nvSpPr>
          <p:cNvPr id="9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357200"/>
            <a:ext cx="7884416" cy="1200329"/>
          </a:xfrm>
        </p:spPr>
        <p:txBody>
          <a:bodyPr/>
          <a:lstStyle/>
          <a:p>
            <a:r>
              <a:rPr lang="pt-BR" sz="3600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Que soluções podemos então construir baseado em SOA?</a:t>
            </a:r>
            <a:endParaRPr lang="pt-BR" sz="3600" b="1" dirty="0">
              <a:solidFill>
                <a:schemeClr val="accent6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/>
          <p:nvPr/>
        </p:nvSpPr>
        <p:spPr bwMode="auto">
          <a:xfrm>
            <a:off x="6715059" y="3579862"/>
            <a:ext cx="1745373" cy="92799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>
            <a:glow rad="139700">
              <a:srgbClr val="7030A0">
                <a:alpha val="40000"/>
              </a:srgb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2000" b="1" dirty="0" smtClean="0">
                <a:solidFill>
                  <a:schemeClr val="bg1"/>
                </a:solidFill>
                <a:latin typeface="Arial" charset="0"/>
              </a:rPr>
              <a:t>Discussão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2000" b="1" dirty="0" smtClean="0">
                <a:solidFill>
                  <a:schemeClr val="bg1"/>
                </a:solidFill>
                <a:latin typeface="Arial" charset="0"/>
              </a:rPr>
              <a:t>10 Minutos</a:t>
            </a:r>
            <a:endParaRPr kumimoji="0" lang="pt-BR" sz="2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7" name="Picture 8" descr="C:\Users\Ezio.Armando\AppData\Local\Microsoft\Windows\Temporary Internet Files\Content.IE5\GB1AWI2J\MCj04344110000[1].wm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3075806"/>
            <a:ext cx="1335660" cy="1502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32926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369332"/>
          </a:xfrm>
        </p:spPr>
        <p:txBody>
          <a:bodyPr/>
          <a:lstStyle/>
          <a:p>
            <a:r>
              <a:rPr lang="pt-BR" dirty="0" smtClean="0"/>
              <a:t>Controlo de Versão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2</a:t>
            </a:fld>
            <a:endParaRPr lang="pt-BR" dirty="0"/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1229203"/>
              </p:ext>
            </p:extLst>
          </p:nvPr>
        </p:nvGraphicFramePr>
        <p:xfrm>
          <a:off x="467544" y="1175638"/>
          <a:ext cx="8280920" cy="2016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6064"/>
                <a:gridCol w="864096"/>
                <a:gridCol w="1008112"/>
                <a:gridCol w="5832648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V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Autor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Data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Descrição</a:t>
                      </a:r>
                      <a:endParaRPr lang="pt-BR" dirty="0"/>
                    </a:p>
                  </a:txBody>
                  <a:tcPr/>
                </a:tc>
              </a:tr>
              <a:tr h="237624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0.10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H. Morais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12/01/2015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Versão DRAFT </a:t>
                      </a:r>
                      <a:r>
                        <a:rPr lang="pt-BR" sz="1200" baseline="0" dirty="0" smtClean="0"/>
                        <a:t>para revisão. </a:t>
                      </a:r>
                      <a:endParaRPr lang="pt-BR" sz="12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0.20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H. Morais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15/01/2015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Revisão</a:t>
                      </a:r>
                      <a:r>
                        <a:rPr lang="pt-BR" sz="1200" baseline="0" dirty="0" smtClean="0"/>
                        <a:t> do Timing do slides. Definição da Agenda.</a:t>
                      </a:r>
                      <a:endParaRPr lang="pt-BR" sz="1200" dirty="0"/>
                    </a:p>
                  </a:txBody>
                  <a:tcPr/>
                </a:tc>
              </a:tr>
              <a:tr h="121032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1.00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H. </a:t>
                      </a:r>
                      <a:r>
                        <a:rPr lang="pt-BR" sz="1200" dirty="0" err="1" smtClean="0"/>
                        <a:t>Moraos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19/01/2014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baseline="0" dirty="0" smtClean="0"/>
                        <a:t>Revisão Final</a:t>
                      </a:r>
                      <a:endParaRPr lang="pt-BR" sz="1200" baseline="0" dirty="0" smtClean="0"/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dirty="0" smtClean="0"/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dirty="0" smtClean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409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oluções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Integração com Serviços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0</a:t>
            </a:fld>
            <a:endParaRPr lang="pt-BR" dirty="0"/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11"/>
          </p:nvPr>
        </p:nvSpPr>
        <p:spPr>
          <a:xfrm>
            <a:off x="432000" y="1131590"/>
            <a:ext cx="4860080" cy="3453253"/>
          </a:xfrm>
        </p:spPr>
        <p:txBody>
          <a:bodyPr/>
          <a:lstStyle/>
          <a:p>
            <a:r>
              <a:rPr lang="pt-BR" dirty="0" smtClean="0"/>
              <a:t>A solução mais comum hoje é a </a:t>
            </a:r>
            <a:r>
              <a:rPr lang="pt-BR" b="1" dirty="0" smtClean="0"/>
              <a:t>Integração de Sistemas </a:t>
            </a:r>
            <a:r>
              <a:rPr lang="pt-BR" dirty="0" smtClean="0"/>
              <a:t>via mensagens usando </a:t>
            </a:r>
            <a:r>
              <a:rPr lang="pt-BR" b="1" dirty="0" smtClean="0"/>
              <a:t>tecnologias SOA</a:t>
            </a:r>
            <a:r>
              <a:rPr lang="pt-BR" dirty="0" smtClean="0"/>
              <a:t>. Como padrão de integração isto é uma </a:t>
            </a:r>
            <a:r>
              <a:rPr lang="pt-BR" b="1" dirty="0" smtClean="0"/>
              <a:t>evolução</a:t>
            </a:r>
            <a:r>
              <a:rPr lang="pt-BR" dirty="0" smtClean="0"/>
              <a:t> comparando com o paradigma ponto a ponto ou EAI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A utilização de </a:t>
            </a:r>
            <a:r>
              <a:rPr lang="pt-BR" b="1" dirty="0" smtClean="0"/>
              <a:t>Web Services (WS-*) </a:t>
            </a:r>
            <a:r>
              <a:rPr lang="pt-BR" dirty="0" smtClean="0"/>
              <a:t>e/ou produtos tipo </a:t>
            </a:r>
            <a:r>
              <a:rPr lang="pt-BR" b="1" dirty="0" smtClean="0"/>
              <a:t>ESB</a:t>
            </a:r>
            <a:r>
              <a:rPr lang="pt-BR" dirty="0" smtClean="0"/>
              <a:t> é hoje uma </a:t>
            </a:r>
            <a:r>
              <a:rPr lang="pt-BR" b="1" dirty="0" smtClean="0"/>
              <a:t>comodidade tecnológica</a:t>
            </a:r>
            <a:r>
              <a:rPr lang="pt-BR" dirty="0" smtClean="0"/>
              <a:t>, com pessoas qualificadas e muitas opções de ferramenta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Neste padrão, a lógica de negócio fica normalmente nos sistemas (ou nos </a:t>
            </a:r>
            <a:r>
              <a:rPr lang="pt-BR" b="1" dirty="0" err="1" smtClean="0"/>
              <a:t>wrappers</a:t>
            </a:r>
            <a:r>
              <a:rPr lang="pt-BR" b="1" dirty="0" smtClean="0"/>
              <a:t>/adaptadores</a:t>
            </a:r>
            <a:r>
              <a:rPr lang="pt-BR" dirty="0" smtClean="0"/>
              <a:t>), utilizando-se assim o ESB só para fazer transformação, validação, roteamento e/ou segurança das interações entre os sistemas, evitando-se assim os problemas das ferramentas EAI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sz="1400" dirty="0" smtClean="0">
                <a:latin typeface="Arial"/>
                <a:cs typeface="Arial"/>
              </a:rPr>
              <a:t>Utiliza-se serviços para desacoplar tecnologicamente os sistemas (e/ou aplicações)</a:t>
            </a:r>
            <a:r>
              <a:rPr lang="pt-BR" altLang="pt-BR" dirty="0"/>
              <a:t>;</a:t>
            </a:r>
            <a:endParaRPr lang="pt-BR" sz="1400" dirty="0"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088" y="1419622"/>
            <a:ext cx="3672408" cy="2957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7958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oluções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Soluções Customizadas com Serviços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1</a:t>
            </a:fld>
            <a:endParaRPr lang="pt-BR" dirty="0"/>
          </a:p>
        </p:txBody>
      </p:sp>
      <p:sp>
        <p:nvSpPr>
          <p:cNvPr id="5" name="Espaço Reservado para Conteúdo 5"/>
          <p:cNvSpPr>
            <a:spLocks noGrp="1"/>
          </p:cNvSpPr>
          <p:nvPr>
            <p:ph sz="quarter" idx="11"/>
          </p:nvPr>
        </p:nvSpPr>
        <p:spPr>
          <a:xfrm>
            <a:off x="3923928" y="1131590"/>
            <a:ext cx="5004096" cy="3668697"/>
          </a:xfrm>
        </p:spPr>
        <p:txBody>
          <a:bodyPr/>
          <a:lstStyle/>
          <a:p>
            <a:r>
              <a:rPr lang="pt-BR" dirty="0" smtClean="0"/>
              <a:t>Serviços SOA podem também ser definidos como </a:t>
            </a:r>
            <a:r>
              <a:rPr lang="pt-BR" b="1" dirty="0" smtClean="0"/>
              <a:t>componentes de software </a:t>
            </a:r>
            <a:r>
              <a:rPr lang="pt-BR" dirty="0" smtClean="0"/>
              <a:t>que servem de base para construir soluções customizadas (muito como componentes OO, tais como </a:t>
            </a:r>
            <a:r>
              <a:rPr lang="pt-BR" dirty="0" err="1" smtClean="0"/>
              <a:t>EJBs</a:t>
            </a:r>
            <a:r>
              <a:rPr lang="pt-BR" dirty="0" smtClean="0"/>
              <a:t> ou DCOM). Estes serviços tem </a:t>
            </a:r>
            <a:r>
              <a:rPr lang="pt-BR" b="1" dirty="0" smtClean="0"/>
              <a:t>lógica de negócio</a:t>
            </a:r>
            <a:r>
              <a:rPr lang="pt-BR" dirty="0" smtClean="0"/>
              <a:t> e podem ser </a:t>
            </a:r>
            <a:r>
              <a:rPr lang="pt-BR" b="1" dirty="0" smtClean="0"/>
              <a:t>reutilizados</a:t>
            </a:r>
            <a:r>
              <a:rPr lang="pt-BR" dirty="0" smtClean="0"/>
              <a:t>, pois não fazem premissas quanto aos consumidor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 smtClean="0"/>
              <a:t>Mas</a:t>
            </a:r>
            <a:r>
              <a:rPr lang="pt-BR" dirty="0" smtClean="0"/>
              <a:t> é importante distinguir serviços criados para </a:t>
            </a:r>
            <a:r>
              <a:rPr lang="pt-BR" b="1" dirty="0" smtClean="0"/>
              <a:t>serem reutilizados</a:t>
            </a:r>
            <a:r>
              <a:rPr lang="pt-BR" dirty="0" smtClean="0"/>
              <a:t> (desenhados e testados para isso), daqueles que nunca serão reutilizados (pois tem uma lógica muito específica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Serviços SOA são bons quando são suficientemente gerais para poderem ser usados por outras aplicaçõe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sz="1400" dirty="0" smtClean="0">
                <a:latin typeface="Arial"/>
                <a:cs typeface="Arial"/>
              </a:rPr>
              <a:t>Para componentes que são </a:t>
            </a:r>
            <a:r>
              <a:rPr lang="pt-BR" altLang="pt-BR" sz="1400" b="1" dirty="0" smtClean="0">
                <a:latin typeface="Arial"/>
                <a:cs typeface="Arial"/>
              </a:rPr>
              <a:t>muito granulares </a:t>
            </a:r>
            <a:r>
              <a:rPr lang="pt-BR" altLang="pt-BR" sz="1400" dirty="0" smtClean="0">
                <a:latin typeface="Arial"/>
                <a:cs typeface="Arial"/>
              </a:rPr>
              <a:t>e/ou que tenham lógica que </a:t>
            </a:r>
            <a:r>
              <a:rPr lang="pt-BR" altLang="pt-BR" sz="1400" b="1" dirty="0" smtClean="0">
                <a:latin typeface="Arial"/>
                <a:cs typeface="Arial"/>
              </a:rPr>
              <a:t>não seja reutilizada</a:t>
            </a:r>
            <a:r>
              <a:rPr lang="pt-BR" altLang="pt-BR" sz="1400" dirty="0" smtClean="0">
                <a:latin typeface="Arial"/>
                <a:cs typeface="Arial"/>
              </a:rPr>
              <a:t>, deverá ser pensar se os custos extra de design e processamento traz vantagens;</a:t>
            </a:r>
            <a:endParaRPr lang="pt-BR" sz="1400" dirty="0">
              <a:latin typeface="Arial"/>
              <a:cs typeface="Arial"/>
            </a:endParaRPr>
          </a:p>
        </p:txBody>
      </p:sp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84" y="1500648"/>
            <a:ext cx="3645136" cy="2511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6837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oluções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Camada de Abstração de Serviços (SAL)*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2</a:t>
            </a:fld>
            <a:endParaRPr lang="pt-BR" dirty="0"/>
          </a:p>
        </p:txBody>
      </p:sp>
      <p:sp>
        <p:nvSpPr>
          <p:cNvPr id="5" name="Espaço Reservado para Conteúdo 3"/>
          <p:cNvSpPr txBox="1">
            <a:spLocks/>
          </p:cNvSpPr>
          <p:nvPr/>
        </p:nvSpPr>
        <p:spPr>
          <a:xfrm>
            <a:off x="971600" y="4876006"/>
            <a:ext cx="4896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t-BR" sz="800" dirty="0" smtClean="0"/>
              <a:t>*SAL – Service </a:t>
            </a:r>
            <a:r>
              <a:rPr lang="pt-BR" sz="800" dirty="0" err="1" smtClean="0"/>
              <a:t>Abstraction</a:t>
            </a:r>
            <a:r>
              <a:rPr lang="pt-BR" sz="800" dirty="0" smtClean="0"/>
              <a:t> </a:t>
            </a:r>
            <a:r>
              <a:rPr lang="pt-BR" sz="800" dirty="0" err="1" smtClean="0"/>
              <a:t>Layer</a:t>
            </a:r>
            <a:r>
              <a:rPr lang="pt-BR" sz="800" dirty="0" smtClean="0"/>
              <a:t> </a:t>
            </a:r>
            <a:endParaRPr lang="pt-BR" sz="800" dirty="0"/>
          </a:p>
        </p:txBody>
      </p:sp>
      <p:sp>
        <p:nvSpPr>
          <p:cNvPr id="7" name="Espaço Reservado para Conteúdo 5"/>
          <p:cNvSpPr>
            <a:spLocks noGrp="1"/>
          </p:cNvSpPr>
          <p:nvPr>
            <p:ph sz="quarter" idx="11"/>
          </p:nvPr>
        </p:nvSpPr>
        <p:spPr>
          <a:xfrm>
            <a:off x="432000" y="1059582"/>
            <a:ext cx="5076104" cy="3884140"/>
          </a:xfrm>
        </p:spPr>
        <p:txBody>
          <a:bodyPr/>
          <a:lstStyle/>
          <a:p>
            <a:r>
              <a:rPr lang="pt-BR" dirty="0" smtClean="0"/>
              <a:t>Uma outra solução muito comum em grandes organizações é um </a:t>
            </a:r>
            <a:r>
              <a:rPr lang="pt-BR" b="1" dirty="0" smtClean="0"/>
              <a:t>barramento corporativo de serviços </a:t>
            </a:r>
            <a:r>
              <a:rPr lang="pt-BR" dirty="0" smtClean="0"/>
              <a:t>(uma camada de abstração de serviços) que tem como objetivo o desacoplamento de sistemas e/ou aplicações, normalmente entre front-</a:t>
            </a:r>
            <a:r>
              <a:rPr lang="pt-BR" dirty="0" err="1" smtClean="0"/>
              <a:t>end</a:t>
            </a:r>
            <a:r>
              <a:rPr lang="pt-BR" dirty="0" smtClean="0"/>
              <a:t> e </a:t>
            </a:r>
            <a:r>
              <a:rPr lang="pt-BR" dirty="0" err="1" smtClean="0"/>
              <a:t>back-end</a:t>
            </a:r>
            <a:r>
              <a:rPr lang="pt-BR" dirty="0" smtClean="0"/>
              <a:t> legad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Este barramento permite criar uma </a:t>
            </a:r>
            <a:r>
              <a:rPr lang="pt-BR" b="1" dirty="0" smtClean="0"/>
              <a:t>visão uniforme </a:t>
            </a:r>
            <a:r>
              <a:rPr lang="pt-BR" dirty="0" smtClean="0"/>
              <a:t>dos legados ou </a:t>
            </a:r>
            <a:r>
              <a:rPr lang="pt-BR" dirty="0" err="1" smtClean="0"/>
              <a:t>back-ends</a:t>
            </a:r>
            <a:r>
              <a:rPr lang="pt-BR" dirty="0" smtClean="0"/>
              <a:t> e assim aceder a lógica de negócio </a:t>
            </a:r>
            <a:r>
              <a:rPr lang="pt-BR" b="1" dirty="0" smtClean="0"/>
              <a:t>sem a complexidade </a:t>
            </a:r>
            <a:r>
              <a:rPr lang="pt-BR" dirty="0" smtClean="0"/>
              <a:t>de se conectar a </a:t>
            </a:r>
            <a:r>
              <a:rPr lang="pt-BR" b="1" dirty="0" smtClean="0"/>
              <a:t>múltiplos</a:t>
            </a:r>
            <a:r>
              <a:rPr lang="pt-BR" dirty="0" smtClean="0"/>
              <a:t> sistemas com tecnologias </a:t>
            </a:r>
            <a:r>
              <a:rPr lang="pt-BR" b="1" dirty="0" smtClean="0"/>
              <a:t>diferentes</a:t>
            </a:r>
            <a:r>
              <a:rPr lang="pt-BR" dirty="0" smtClean="0"/>
              <a:t>;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Uma versão simplificada deste padrão é um </a:t>
            </a:r>
            <a:r>
              <a:rPr lang="pt-BR" b="1" dirty="0" smtClean="0"/>
              <a:t>barramento de dados</a:t>
            </a:r>
            <a:r>
              <a:rPr lang="pt-BR" dirty="0" smtClean="0"/>
              <a:t>, que abstrai os dados (e não a lógica de negócio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 smtClean="0"/>
              <a:t>Deve-se ter cuidado </a:t>
            </a:r>
            <a:r>
              <a:rPr lang="pt-BR" dirty="0" smtClean="0"/>
              <a:t>quando se implementa este padrão, pois é necessário definir um </a:t>
            </a:r>
            <a:r>
              <a:rPr lang="pt-BR" b="1" dirty="0" smtClean="0"/>
              <a:t>modelo comum de dados </a:t>
            </a:r>
            <a:r>
              <a:rPr lang="pt-BR" dirty="0" smtClean="0"/>
              <a:t>para as mensagens e dever-se-á conhecer claramente a lógica de negócio dos sistemas </a:t>
            </a:r>
            <a:r>
              <a:rPr lang="pt-BR" dirty="0" err="1" smtClean="0"/>
              <a:t>back-end</a:t>
            </a:r>
            <a:r>
              <a:rPr lang="pt-BR" dirty="0" smtClean="0"/>
              <a:t> para a poder abstrair duma forma coerente;</a:t>
            </a:r>
            <a:endParaRPr lang="pt-BR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0960" y="1347614"/>
            <a:ext cx="3100336" cy="3288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8090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oluções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Serviços Compostos com Orquestração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3</a:t>
            </a:fld>
            <a:endParaRPr lang="pt-BR" dirty="0"/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11"/>
          </p:nvPr>
        </p:nvSpPr>
        <p:spPr>
          <a:xfrm>
            <a:off x="3347864" y="1131590"/>
            <a:ext cx="5544616" cy="3927229"/>
          </a:xfrm>
          <a:noFill/>
        </p:spPr>
        <p:txBody>
          <a:bodyPr wrap="square" rtlCol="0">
            <a:spAutoFit/>
          </a:bodyPr>
          <a:lstStyle/>
          <a:p>
            <a:r>
              <a:rPr lang="pt-BR" altLang="pt-BR" dirty="0" smtClean="0"/>
              <a:t>Uma Arquitetura SOA facilita a </a:t>
            </a:r>
            <a:r>
              <a:rPr lang="pt-BR" altLang="pt-BR" b="1" dirty="0" smtClean="0"/>
              <a:t>modelação</a:t>
            </a:r>
            <a:r>
              <a:rPr lang="pt-BR" altLang="pt-BR" dirty="0" smtClean="0"/>
              <a:t> e </a:t>
            </a:r>
            <a:r>
              <a:rPr lang="pt-BR" altLang="pt-BR" b="1" dirty="0" smtClean="0"/>
              <a:t>automatização</a:t>
            </a:r>
            <a:r>
              <a:rPr lang="pt-BR" altLang="pt-BR" dirty="0" smtClean="0"/>
              <a:t> de processos de negócio com o uso de ferramentas BPM e/ou de Orquestração de Serviço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 smtClean="0"/>
              <a:t>Numa primeira fase, pode-se criar </a:t>
            </a:r>
            <a:r>
              <a:rPr lang="pt-BR" altLang="pt-BR" b="1" dirty="0" smtClean="0"/>
              <a:t>serviços compostos </a:t>
            </a:r>
            <a:r>
              <a:rPr lang="pt-BR" altLang="pt-BR" dirty="0" smtClean="0"/>
              <a:t>com o uso de </a:t>
            </a:r>
            <a:r>
              <a:rPr lang="pt-BR" altLang="pt-BR" b="1" dirty="0" smtClean="0"/>
              <a:t>orquestração</a:t>
            </a:r>
            <a:r>
              <a:rPr lang="pt-BR" altLang="pt-BR" dirty="0" smtClean="0"/>
              <a:t>. Estes serviços servem de base para a automatização de 1+ atividades do process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 smtClean="0"/>
              <a:t>Com BPM, os processos de negócio poderão depois ser dirigidos pelas ferramentas, flexibilizando-se assim a sua implementaçã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 smtClean="0"/>
              <a:t>Com o uso de ferramentas dedicadas de modelagem e execução de processos (BPM), </a:t>
            </a:r>
            <a:r>
              <a:rPr lang="pt-BR" altLang="pt-BR" b="1" dirty="0" smtClean="0"/>
              <a:t>flexibiliza-se</a:t>
            </a:r>
            <a:r>
              <a:rPr lang="pt-BR" altLang="pt-BR" dirty="0" smtClean="0"/>
              <a:t> a implementação dos processos de negócio e </a:t>
            </a:r>
            <a:r>
              <a:rPr lang="pt-BR" altLang="pt-BR" b="1" dirty="0" smtClean="0"/>
              <a:t>focaliza-se na modelagem </a:t>
            </a:r>
            <a:r>
              <a:rPr lang="pt-BR" altLang="pt-BR" dirty="0" smtClean="0"/>
              <a:t>dos processos (que são a </a:t>
            </a:r>
            <a:r>
              <a:rPr lang="pt-BR" altLang="pt-BR" b="1" dirty="0" smtClean="0"/>
              <a:t>vantagem competitiva </a:t>
            </a:r>
            <a:r>
              <a:rPr lang="pt-BR" altLang="pt-BR" dirty="0" smtClean="0"/>
              <a:t>da organização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/>
              <a:t>Infelizmente, os </a:t>
            </a:r>
            <a:r>
              <a:rPr lang="pt-BR" altLang="pt-BR" dirty="0" smtClean="0"/>
              <a:t>sistemas verticais legados (ou mesmo os modernos)  não são desenhados para agirem somente como provedores, assim, abstrair os processos das ferramentas </a:t>
            </a:r>
            <a:r>
              <a:rPr lang="pt-BR" altLang="pt-BR" b="1" dirty="0" smtClean="0"/>
              <a:t>pode ser complexo</a:t>
            </a:r>
            <a:r>
              <a:rPr lang="pt-BR" altLang="pt-BR" dirty="0" smtClean="0"/>
              <a:t>.</a:t>
            </a:r>
          </a:p>
        </p:txBody>
      </p:sp>
      <p:sp>
        <p:nvSpPr>
          <p:cNvPr id="5" name="Espaço Reservado para Conteúdo 3"/>
          <p:cNvSpPr txBox="1">
            <a:spLocks/>
          </p:cNvSpPr>
          <p:nvPr/>
        </p:nvSpPr>
        <p:spPr>
          <a:xfrm>
            <a:off x="467544" y="4804578"/>
            <a:ext cx="4896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 smtClean="0"/>
              <a:t>*BPM – Business </a:t>
            </a:r>
            <a:r>
              <a:rPr lang="pt-BR" sz="800" dirty="0" err="1" smtClean="0"/>
              <a:t>Process</a:t>
            </a:r>
            <a:r>
              <a:rPr lang="pt-BR" sz="800" dirty="0" smtClean="0"/>
              <a:t> Management </a:t>
            </a:r>
            <a:endParaRPr lang="pt-BR" sz="800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275606"/>
            <a:ext cx="2663977" cy="3003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9068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oluções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Soluções Compostas com Portais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4</a:t>
            </a:fld>
            <a:endParaRPr lang="pt-BR" dirty="0"/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11"/>
          </p:nvPr>
        </p:nvSpPr>
        <p:spPr>
          <a:xfrm>
            <a:off x="467544" y="1102393"/>
            <a:ext cx="5400600" cy="3453253"/>
          </a:xfrm>
          <a:noFill/>
        </p:spPr>
        <p:txBody>
          <a:bodyPr wrap="square" rtlCol="0">
            <a:spAutoFit/>
          </a:bodyPr>
          <a:lstStyle/>
          <a:p>
            <a:r>
              <a:rPr lang="pt-BR" altLang="pt-BR" dirty="0" smtClean="0"/>
              <a:t>Uma Arquitetura SOA é muito efetiva em facilitar a implementação de Soluções de Portais ou Aplicações Web Compostas (uma camada uniforme de apresentação) que acessa a lógica de negócio de muitos sistemas remotos ou de </a:t>
            </a:r>
            <a:r>
              <a:rPr lang="pt-BR" altLang="pt-BR" dirty="0" err="1" smtClean="0"/>
              <a:t>back</a:t>
            </a:r>
            <a:r>
              <a:rPr lang="pt-BR" altLang="pt-BR" dirty="0" smtClean="0"/>
              <a:t>-en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 smtClean="0"/>
              <a:t>Web Services e SOA, permite </a:t>
            </a:r>
            <a:r>
              <a:rPr lang="pt-BR" altLang="pt-BR" b="1" dirty="0" smtClean="0"/>
              <a:t>desacoplar</a:t>
            </a:r>
            <a:r>
              <a:rPr lang="pt-BR" altLang="pt-BR" dirty="0" smtClean="0"/>
              <a:t> duma forma eficaz os front-</a:t>
            </a:r>
            <a:r>
              <a:rPr lang="pt-BR" altLang="pt-BR" dirty="0" err="1" smtClean="0"/>
              <a:t>ends</a:t>
            </a:r>
            <a:r>
              <a:rPr lang="pt-BR" altLang="pt-BR" dirty="0" smtClean="0"/>
              <a:t> dos </a:t>
            </a:r>
            <a:r>
              <a:rPr lang="pt-BR" altLang="pt-BR" dirty="0" err="1" smtClean="0"/>
              <a:t>back-ends</a:t>
            </a:r>
            <a:r>
              <a:rPr lang="pt-BR" altLang="pt-BR" dirty="0" smtClean="0"/>
              <a:t> e permite assim que várias soluções de front-</a:t>
            </a:r>
            <a:r>
              <a:rPr lang="pt-BR" altLang="pt-BR" dirty="0" err="1" smtClean="0"/>
              <a:t>end</a:t>
            </a:r>
            <a:r>
              <a:rPr lang="pt-BR" altLang="pt-BR" dirty="0" smtClean="0"/>
              <a:t> </a:t>
            </a:r>
            <a:r>
              <a:rPr lang="pt-BR" altLang="pt-BR" b="1" dirty="0" smtClean="0"/>
              <a:t>reutilizem funcionalidades</a:t>
            </a:r>
            <a:r>
              <a:rPr lang="pt-BR" altLang="pt-BR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 smtClean="0"/>
              <a:t>Estas soluções são comuns, mas há problemas técnicos que devem ser endereçados, tais como os </a:t>
            </a:r>
            <a:r>
              <a:rPr lang="pt-BR" altLang="pt-BR" b="1" dirty="0" smtClean="0"/>
              <a:t>requisitos de disponibilidade</a:t>
            </a:r>
            <a:r>
              <a:rPr lang="pt-BR" altLang="pt-BR" dirty="0"/>
              <a:t> </a:t>
            </a:r>
            <a:r>
              <a:rPr lang="pt-BR" altLang="pt-BR" dirty="0" smtClean="0"/>
              <a:t>(</a:t>
            </a:r>
            <a:r>
              <a:rPr lang="pt-BR" altLang="pt-BR" dirty="0" err="1" smtClean="0"/>
              <a:t>SLAs</a:t>
            </a:r>
            <a:r>
              <a:rPr lang="pt-BR" altLang="pt-BR" dirty="0" smtClean="0"/>
              <a:t> de 24x7 a 99.99%) e de </a:t>
            </a:r>
            <a:r>
              <a:rPr lang="pt-BR" altLang="pt-BR" b="1" dirty="0" smtClean="0"/>
              <a:t>escalabilidade</a:t>
            </a:r>
            <a:r>
              <a:rPr lang="pt-BR" altLang="pt-BR" dirty="0" smtClean="0"/>
              <a:t> das soluções Web, que normalmente são maiores que os </a:t>
            </a:r>
            <a:r>
              <a:rPr lang="pt-BR" altLang="pt-BR" dirty="0" err="1" smtClean="0"/>
              <a:t>back-ends</a:t>
            </a:r>
            <a:r>
              <a:rPr lang="pt-BR" altLang="pt-BR" dirty="0" smtClean="0"/>
              <a:t> (os provedores de serviços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 smtClean="0"/>
              <a:t>Normalmente, uma </a:t>
            </a:r>
            <a:r>
              <a:rPr lang="pt-BR" altLang="pt-BR" b="1" dirty="0" smtClean="0"/>
              <a:t>camada de abstração</a:t>
            </a:r>
            <a:r>
              <a:rPr lang="pt-BR" altLang="pt-BR" dirty="0" smtClean="0"/>
              <a:t> de serviços (ou dados) é necessário, para </a:t>
            </a:r>
            <a:r>
              <a:rPr lang="pt-BR" altLang="pt-BR" b="1" dirty="0" smtClean="0"/>
              <a:t>esconder</a:t>
            </a:r>
            <a:r>
              <a:rPr lang="pt-BR" altLang="pt-BR" dirty="0" smtClean="0"/>
              <a:t> e </a:t>
            </a:r>
            <a:r>
              <a:rPr lang="pt-BR" altLang="pt-BR" b="1" dirty="0" smtClean="0"/>
              <a:t>abstrair</a:t>
            </a:r>
            <a:r>
              <a:rPr lang="pt-BR" altLang="pt-BR" dirty="0" smtClean="0"/>
              <a:t> a complexidade dos provedores;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1275606"/>
            <a:ext cx="2807632" cy="3335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31531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oluções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err="1" smtClean="0"/>
              <a:t>RIAs</a:t>
            </a:r>
            <a:r>
              <a:rPr lang="pt-BR" b="0" i="1" dirty="0" smtClean="0"/>
              <a:t> com Serviços Externos e Internos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5</a:t>
            </a:fld>
            <a:endParaRPr lang="pt-BR" dirty="0"/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11"/>
          </p:nvPr>
        </p:nvSpPr>
        <p:spPr>
          <a:xfrm>
            <a:off x="3419872" y="1279317"/>
            <a:ext cx="5544616" cy="3668697"/>
          </a:xfrm>
        </p:spPr>
        <p:txBody>
          <a:bodyPr/>
          <a:lstStyle/>
          <a:p>
            <a:r>
              <a:rPr lang="pt-BR" altLang="pt-BR" dirty="0" smtClean="0"/>
              <a:t>Aplicações Web interativas (RIA), Aplicações Móveis ou </a:t>
            </a:r>
            <a:r>
              <a:rPr lang="pt-BR" altLang="pt-BR" dirty="0" err="1" smtClean="0"/>
              <a:t>Mashups</a:t>
            </a:r>
            <a:r>
              <a:rPr lang="pt-BR" altLang="pt-BR" dirty="0" smtClean="0"/>
              <a:t> (que são uma composição de aplicações web) tem necessidade de pedir conteúdo de uma forma dinâmica a sistemas externos quanto internos e providenciar isto numa só página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 smtClean="0"/>
              <a:t>Estes “novos” sistemas podem não usar os </a:t>
            </a:r>
            <a:r>
              <a:rPr lang="pt-BR" altLang="pt-BR" b="1" dirty="0" smtClean="0"/>
              <a:t>standards WS</a:t>
            </a:r>
            <a:r>
              <a:rPr lang="pt-BR" altLang="pt-BR" dirty="0" smtClean="0"/>
              <a:t> de SOA, pois este é mais complexo que </a:t>
            </a:r>
            <a:r>
              <a:rPr lang="pt-BR" altLang="pt-BR" b="1" dirty="0" smtClean="0"/>
              <a:t>alternativas REST </a:t>
            </a:r>
            <a:r>
              <a:rPr lang="pt-BR" altLang="pt-BR" dirty="0" smtClean="0"/>
              <a:t>ou pode ser </a:t>
            </a:r>
            <a:r>
              <a:rPr lang="pt-BR" altLang="pt-BR" b="1" dirty="0" smtClean="0"/>
              <a:t>menos performático </a:t>
            </a:r>
            <a:r>
              <a:rPr lang="pt-BR" altLang="pt-BR" dirty="0" smtClean="0"/>
              <a:t>quando se usa AJAX. Muitas vezes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 smtClean="0"/>
              <a:t>Mas mesmo desviando-se da padronização tecnológica de SOA, muitos dos </a:t>
            </a:r>
            <a:r>
              <a:rPr lang="pt-BR" altLang="pt-BR" b="1" dirty="0" smtClean="0"/>
              <a:t>conceitos</a:t>
            </a:r>
            <a:r>
              <a:rPr lang="pt-BR" altLang="pt-BR" dirty="0" smtClean="0"/>
              <a:t> e </a:t>
            </a:r>
            <a:r>
              <a:rPr lang="pt-BR" altLang="pt-BR" b="1" dirty="0" smtClean="0"/>
              <a:t>padrões</a:t>
            </a:r>
            <a:r>
              <a:rPr lang="pt-BR" altLang="pt-BR" dirty="0" smtClean="0"/>
              <a:t> SOA beneficiam estas soluções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 smtClean="0"/>
              <a:t>As boa práticas de </a:t>
            </a:r>
            <a:r>
              <a:rPr lang="pt-BR" altLang="pt-BR" b="1" dirty="0" smtClean="0"/>
              <a:t>desacoplamento</a:t>
            </a:r>
            <a:r>
              <a:rPr lang="pt-BR" altLang="pt-BR" dirty="0" smtClean="0"/>
              <a:t> dos sistemas  e </a:t>
            </a:r>
            <a:r>
              <a:rPr lang="pt-BR" altLang="pt-BR" b="1" dirty="0" smtClean="0"/>
              <a:t>interfaces</a:t>
            </a:r>
            <a:r>
              <a:rPr lang="pt-BR" altLang="pt-BR" dirty="0" smtClean="0"/>
              <a:t> bem definidos (</a:t>
            </a:r>
            <a:r>
              <a:rPr lang="pt-BR" altLang="pt-BR" b="1" dirty="0" smtClean="0"/>
              <a:t>contratos com os 3S</a:t>
            </a:r>
            <a:r>
              <a:rPr lang="pt-BR" altLang="pt-BR" dirty="0" smtClean="0"/>
              <a:t>), são essenciais quando se deseja reutilizar “serviços”; mesmo se estes são consumidos com XML/HTTP e utilizando os verbos HTTP.</a:t>
            </a:r>
            <a:endParaRPr lang="pt-BR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011" y="1347614"/>
            <a:ext cx="2819837" cy="273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9027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Soluções com SOA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Discussão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6</a:t>
            </a:fld>
            <a:endParaRPr lang="pt-BR" dirty="0"/>
          </a:p>
        </p:txBody>
      </p:sp>
      <p:sp>
        <p:nvSpPr>
          <p:cNvPr id="9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357200"/>
            <a:ext cx="7884416" cy="1200329"/>
          </a:xfrm>
        </p:spPr>
        <p:txBody>
          <a:bodyPr/>
          <a:lstStyle/>
          <a:p>
            <a:r>
              <a:rPr lang="pt-BR" sz="3600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No caso da Oi? Onde podemos então usar este paradigma?</a:t>
            </a:r>
            <a:endParaRPr lang="pt-BR" sz="3600" b="1" dirty="0">
              <a:solidFill>
                <a:schemeClr val="accent6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/>
          <p:nvPr/>
        </p:nvSpPr>
        <p:spPr bwMode="auto">
          <a:xfrm>
            <a:off x="6715059" y="3579862"/>
            <a:ext cx="1745373" cy="92799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>
            <a:glow rad="139700">
              <a:srgbClr val="7030A0">
                <a:alpha val="40000"/>
              </a:srgb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2000" b="1" dirty="0" smtClean="0">
                <a:solidFill>
                  <a:schemeClr val="bg1"/>
                </a:solidFill>
                <a:latin typeface="Arial" charset="0"/>
              </a:rPr>
              <a:t>Discussão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2000" b="1" dirty="0" smtClean="0">
                <a:solidFill>
                  <a:schemeClr val="bg1"/>
                </a:solidFill>
                <a:latin typeface="Arial" charset="0"/>
              </a:rPr>
              <a:t>15 Minutos</a:t>
            </a:r>
            <a:endParaRPr kumimoji="0" lang="pt-BR" sz="2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11" name="Picture 4" descr="C:\Users\Ezio.Armando\AppData\Local\Microsoft\Windows\Temporary Internet Files\Content.IE5\RBPRC2KW\MC900442026[1].wm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560" y="2837646"/>
            <a:ext cx="1440160" cy="16783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69260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824400" y="3402000"/>
            <a:ext cx="6843944" cy="954000"/>
          </a:xfrm>
        </p:spPr>
        <p:txBody>
          <a:bodyPr/>
          <a:lstStyle/>
          <a:p>
            <a:r>
              <a:rPr lang="pt-BR" dirty="0" smtClean="0"/>
              <a:t>Arquitetura de Referência SOA</a:t>
            </a:r>
          </a:p>
        </p:txBody>
      </p:sp>
    </p:spTree>
    <p:extLst>
      <p:ext uri="{BB962C8B-B14F-4D97-AF65-F5344CB8AC3E}">
        <p14:creationId xmlns:p14="http://schemas.microsoft.com/office/powerpoint/2010/main" val="1833840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8</a:t>
            </a:fld>
            <a:endParaRPr lang="pt-BR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342" y="2086719"/>
            <a:ext cx="813298" cy="20692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 descr="http://www.comtelafrica.com/images/system_integration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97588" y="1949526"/>
            <a:ext cx="541600" cy="406200"/>
          </a:xfrm>
          <a:prstGeom prst="rect">
            <a:avLst/>
          </a:prstGeom>
          <a:noFill/>
        </p:spPr>
      </p:pic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4520231"/>
              </p:ext>
            </p:extLst>
          </p:nvPr>
        </p:nvGraphicFramePr>
        <p:xfrm>
          <a:off x="2483768" y="1779662"/>
          <a:ext cx="6264696" cy="301752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440160"/>
                <a:gridCol w="482453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6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usto</a:t>
                      </a:r>
                      <a:endParaRPr lang="pt-BR" sz="16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ra diminuir o custo de TI para implementar novas soluções devemos promover a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dronização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os componentes da arquitetura.</a:t>
                      </a:r>
                      <a:endParaRPr lang="pt-BR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pt-BR" sz="1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lexibilidade</a:t>
                      </a:r>
                      <a:endParaRPr lang="pt-BR" sz="16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ra diminuir</a:t>
                      </a:r>
                      <a:r>
                        <a:rPr lang="pt-B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 custo de TI devemos </a:t>
                      </a:r>
                      <a:r>
                        <a:rPr lang="pt-BR" sz="14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ilitar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 renovação tecnológica (novos sistemas)</a:t>
                      </a: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pt-BR" sz="1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apidez</a:t>
                      </a:r>
                      <a:endParaRPr lang="pt-BR" sz="16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ra que o TI consiga responder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is rapidamente 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às demandas do negócio a arquitetura</a:t>
                      </a:r>
                      <a:r>
                        <a:rPr lang="pt-B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everá facilitar 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utilização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e serviços de negócio</a:t>
                      </a: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pt-BR" sz="1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perabilidade</a:t>
                      </a:r>
                      <a:endParaRPr lang="pt-BR" sz="16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I deverá suportar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lhor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 de forma mais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ápida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 negócio no seu dia-a-dia</a:t>
                      </a: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pt-BR" sz="1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mpreensão</a:t>
                      </a:r>
                      <a:endParaRPr lang="pt-BR" sz="16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arquitetura deverá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roximar a linguagem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e TI às necessidades de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gócio</a:t>
                      </a: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pSp>
        <p:nvGrpSpPr>
          <p:cNvPr id="8" name="Grupo 39"/>
          <p:cNvGrpSpPr/>
          <p:nvPr/>
        </p:nvGrpSpPr>
        <p:grpSpPr>
          <a:xfrm>
            <a:off x="1578530" y="2508970"/>
            <a:ext cx="761222" cy="566836"/>
            <a:chOff x="5652120" y="1952993"/>
            <a:chExt cx="1511132" cy="1374319"/>
          </a:xfrm>
        </p:grpSpPr>
        <p:pic>
          <p:nvPicPr>
            <p:cNvPr id="9" name="Picture 2" descr="Servidor de computador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455871" y="2619932"/>
              <a:ext cx="707381" cy="707380"/>
            </a:xfrm>
            <a:prstGeom prst="rect">
              <a:avLst/>
            </a:prstGeom>
            <a:noFill/>
          </p:spPr>
        </p:pic>
        <p:pic>
          <p:nvPicPr>
            <p:cNvPr id="10" name="Picture 2" descr="Servidor de computador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046764" y="1954410"/>
              <a:ext cx="707380" cy="707380"/>
            </a:xfrm>
            <a:prstGeom prst="rect">
              <a:avLst/>
            </a:prstGeom>
            <a:noFill/>
          </p:spPr>
        </p:pic>
        <p:pic>
          <p:nvPicPr>
            <p:cNvPr id="11" name="Picture 14" descr="http://openclipart.org/image/250px/svg_to_png/8109/CarbonNYC_NEW_Exclamation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 rot="1812111">
              <a:off x="6473255" y="2779261"/>
              <a:ext cx="504057" cy="379051"/>
            </a:xfrm>
            <a:prstGeom prst="rect">
              <a:avLst/>
            </a:prstGeom>
            <a:noFill/>
          </p:spPr>
        </p:pic>
        <p:pic>
          <p:nvPicPr>
            <p:cNvPr id="12" name="Picture 7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652120" y="1952993"/>
              <a:ext cx="491356" cy="7102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8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027034" y="2610258"/>
              <a:ext cx="481637" cy="7170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4" name="Grupo 41"/>
          <p:cNvGrpSpPr/>
          <p:nvPr/>
        </p:nvGrpSpPr>
        <p:grpSpPr>
          <a:xfrm>
            <a:off x="1763688" y="3219822"/>
            <a:ext cx="372550" cy="360905"/>
            <a:chOff x="1619672" y="4149080"/>
            <a:chExt cx="1008112" cy="901674"/>
          </a:xfrm>
        </p:grpSpPr>
        <p:pic>
          <p:nvPicPr>
            <p:cNvPr id="15" name="Picture 4" descr="http://3.bp.blogspot.com/-OZ6OBWKDBEY/TcVTE0nI0ZI/AAAAAAAAACY/u0SPWGqL_r4/s1600/simbolo_reciclagem.gif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619672" y="4149080"/>
              <a:ext cx="815215" cy="792088"/>
            </a:xfrm>
            <a:prstGeom prst="rect">
              <a:avLst/>
            </a:prstGeom>
            <a:noFill/>
          </p:spPr>
        </p:pic>
        <p:pic>
          <p:nvPicPr>
            <p:cNvPr id="16" name="Picture 2" descr="C:\Users\olamiral\AppData\Local\Microsoft\Windows\Temporary Internet Files\Low\Content.IE5\KJI5OWPC\MC900432614[1]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979712" y="4402682"/>
              <a:ext cx="648072" cy="648072"/>
            </a:xfrm>
            <a:prstGeom prst="rect">
              <a:avLst/>
            </a:prstGeom>
            <a:noFill/>
          </p:spPr>
        </p:pic>
      </p:grpSp>
      <p:pic>
        <p:nvPicPr>
          <p:cNvPr id="17" name="Picture 12" descr="https://encrypted-tbn2.gstatic.com/images?q=tbn:ANd9GcTxHrU45bYEi_p9Mcnit0jHR5FU2QahcBGKvsnEh_cZ5drDI_4tJ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763688" y="4341316"/>
            <a:ext cx="390674" cy="390674"/>
          </a:xfrm>
          <a:prstGeom prst="rect">
            <a:avLst/>
          </a:prstGeom>
          <a:noFill/>
        </p:spPr>
      </p:pic>
      <p:pic>
        <p:nvPicPr>
          <p:cNvPr id="18" name="Picture 2" descr="C:\Users\olamiral\AppData\Local\Microsoft\Windows\Temporary Internet Files\Low\Content.IE5\KJI5OWPC\MC900432614[1]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763688" y="3781069"/>
            <a:ext cx="369420" cy="394040"/>
          </a:xfrm>
          <a:prstGeom prst="rect">
            <a:avLst/>
          </a:prstGeom>
          <a:noFill/>
        </p:spPr>
      </p:pic>
      <p:sp>
        <p:nvSpPr>
          <p:cNvPr id="19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131590"/>
            <a:ext cx="8146800" cy="584775"/>
          </a:xfrm>
        </p:spPr>
        <p:txBody>
          <a:bodyPr/>
          <a:lstStyle/>
          <a:p>
            <a:r>
              <a:rPr lang="pt-BR" sz="1600" dirty="0" smtClean="0"/>
              <a:t>Diversas </a:t>
            </a:r>
            <a:r>
              <a:rPr lang="pt-BR" sz="1600" b="1" dirty="0" smtClean="0"/>
              <a:t>Orientações</a:t>
            </a:r>
            <a:r>
              <a:rPr lang="pt-BR" sz="1600" dirty="0" smtClean="0"/>
              <a:t> e </a:t>
            </a:r>
            <a:r>
              <a:rPr lang="pt-BR" sz="1600" b="1" dirty="0" smtClean="0"/>
              <a:t>Motivações</a:t>
            </a:r>
            <a:r>
              <a:rPr lang="pt-BR" sz="1600" dirty="0" smtClean="0"/>
              <a:t> de </a:t>
            </a:r>
            <a:r>
              <a:rPr lang="pt-BR" sz="1600" dirty="0"/>
              <a:t>TI e/ou de Negócio </a:t>
            </a:r>
            <a:r>
              <a:rPr lang="pt-BR" sz="1600" dirty="0" smtClean="0"/>
              <a:t>levaram-nos a </a:t>
            </a:r>
            <a:r>
              <a:rPr lang="pt-BR" sz="1600" dirty="0"/>
              <a:t>reavaliar a nossa </a:t>
            </a:r>
            <a:r>
              <a:rPr lang="pt-BR" sz="1600" b="1" dirty="0"/>
              <a:t>Arquitetura de </a:t>
            </a:r>
            <a:r>
              <a:rPr lang="pt-BR" sz="1600" b="1" dirty="0" smtClean="0"/>
              <a:t>Integração</a:t>
            </a:r>
            <a:endParaRPr lang="pt-BR" sz="1600" b="1" dirty="0"/>
          </a:p>
        </p:txBody>
      </p:sp>
      <p:sp>
        <p:nvSpPr>
          <p:cNvPr id="20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</a:t>
            </a:r>
            <a:r>
              <a:rPr lang="pt-BR" dirty="0" smtClean="0"/>
              <a:t>Referência 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Porque mudar as coisas? Motivação!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25324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Referência SOA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Quais as melhores práticas?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9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131590"/>
            <a:ext cx="8146800" cy="954107"/>
          </a:xfrm>
        </p:spPr>
        <p:txBody>
          <a:bodyPr/>
          <a:lstStyle/>
          <a:p>
            <a:r>
              <a:rPr lang="pt-BR" dirty="0" smtClean="0"/>
              <a:t>Um novo modelo de </a:t>
            </a:r>
            <a:r>
              <a:rPr lang="pt-BR" b="1" dirty="0" smtClean="0"/>
              <a:t>Governança</a:t>
            </a:r>
            <a:r>
              <a:rPr lang="pt-BR" dirty="0" smtClean="0"/>
              <a:t> foi definido para endereçar os </a:t>
            </a:r>
            <a:r>
              <a:rPr lang="pt-BR" b="1" dirty="0" smtClean="0"/>
              <a:t>desafios</a:t>
            </a:r>
            <a:r>
              <a:rPr lang="pt-BR" dirty="0" smtClean="0"/>
              <a:t> necessário para melhorar a nossa Arquitetura de Integração Online. Chamada de </a:t>
            </a:r>
            <a:r>
              <a:rPr lang="pt-BR" b="1" dirty="0" smtClean="0"/>
              <a:t>Governança SOA, </a:t>
            </a:r>
            <a:r>
              <a:rPr lang="pt-BR" dirty="0" smtClean="0"/>
              <a:t>foi definido um novo</a:t>
            </a:r>
            <a:r>
              <a:rPr lang="pt-BR" dirty="0"/>
              <a:t> </a:t>
            </a:r>
            <a:r>
              <a:rPr lang="pt-BR" dirty="0" smtClean="0"/>
              <a:t>conjunto </a:t>
            </a:r>
            <a:r>
              <a:rPr lang="pt-BR" dirty="0"/>
              <a:t>de </a:t>
            </a:r>
            <a:r>
              <a:rPr lang="pt-BR" b="1" dirty="0" smtClean="0"/>
              <a:t>padrões</a:t>
            </a:r>
            <a:r>
              <a:rPr lang="pt-BR" dirty="0" smtClean="0"/>
              <a:t>, </a:t>
            </a:r>
            <a:r>
              <a:rPr lang="pt-BR" b="1" dirty="0" smtClean="0"/>
              <a:t>processos</a:t>
            </a:r>
            <a:r>
              <a:rPr lang="pt-BR" dirty="0"/>
              <a:t> </a:t>
            </a:r>
            <a:r>
              <a:rPr lang="pt-BR" dirty="0" smtClean="0"/>
              <a:t>e </a:t>
            </a:r>
            <a:r>
              <a:rPr lang="pt-BR" b="1" dirty="0" smtClean="0"/>
              <a:t>políticas</a:t>
            </a:r>
            <a:r>
              <a:rPr lang="pt-BR" dirty="0" smtClean="0"/>
              <a:t> que se propõe a garantir o alinhamento de TI com a estratégia SOA desejada da organização. 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2355726"/>
            <a:ext cx="3446307" cy="2304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upo 23"/>
          <p:cNvGrpSpPr/>
          <p:nvPr/>
        </p:nvGrpSpPr>
        <p:grpSpPr>
          <a:xfrm>
            <a:off x="5580112" y="2787774"/>
            <a:ext cx="720080" cy="504056"/>
            <a:chOff x="3714750" y="1040383"/>
            <a:chExt cx="1141859" cy="788665"/>
          </a:xfrm>
        </p:grpSpPr>
        <p:pic>
          <p:nvPicPr>
            <p:cNvPr id="9" name="Picture 2" descr="C:\Users\olamiral\AppData\Local\Microsoft\Windows\Temporary Internet Files\Low\Content.IE5\G1HV5LRJ\MC900431641[1]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714750" y="1040383"/>
              <a:ext cx="569218" cy="569218"/>
            </a:xfrm>
            <a:prstGeom prst="rect">
              <a:avLst/>
            </a:prstGeom>
            <a:noFill/>
          </p:spPr>
        </p:pic>
        <p:pic>
          <p:nvPicPr>
            <p:cNvPr id="10" name="Picture 3" descr="C:\Users\olamiral\AppData\Local\Microsoft\Windows\Temporary Internet Files\Low\Content.IE5\RT3I37L0\MC900431640[1]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283968" y="1052736"/>
              <a:ext cx="572641" cy="572641"/>
            </a:xfrm>
            <a:prstGeom prst="rect">
              <a:avLst/>
            </a:prstGeom>
            <a:noFill/>
          </p:spPr>
        </p:pic>
        <p:pic>
          <p:nvPicPr>
            <p:cNvPr id="11" name="Picture 4" descr="C:\Users\olamiral\AppData\Local\Microsoft\Windows\Temporary Internet Files\Low\Content.IE5\JKFYGEAW\MC900432624[1]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957786" y="1166490"/>
              <a:ext cx="662558" cy="662558"/>
            </a:xfrm>
            <a:prstGeom prst="rect">
              <a:avLst/>
            </a:prstGeom>
            <a:noFill/>
          </p:spPr>
        </p:pic>
      </p:grpSp>
      <p:pic>
        <p:nvPicPr>
          <p:cNvPr id="12" name="Picture 2" descr="C:\Users\olamiral\AppData\Local\Microsoft\Windows\Temporary Internet Files\Low\Content.IE5\KJI5OWPC\MC900432614[1]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380312" y="2787774"/>
            <a:ext cx="432048" cy="432048"/>
          </a:xfrm>
          <a:prstGeom prst="rect">
            <a:avLst/>
          </a:prstGeom>
          <a:noFill/>
        </p:spPr>
      </p:pic>
      <p:pic>
        <p:nvPicPr>
          <p:cNvPr id="13" name="Picture 8" descr="C:\Users\olamiral\AppData\Local\Microsoft\Windows\Temporary Internet Files\Low\Content.IE5\GRSWHKGJ\MC900432645[1]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610128" y="2787774"/>
            <a:ext cx="432048" cy="432048"/>
          </a:xfrm>
          <a:prstGeom prst="rect">
            <a:avLst/>
          </a:prstGeom>
          <a:noFill/>
        </p:spPr>
      </p:pic>
      <p:sp>
        <p:nvSpPr>
          <p:cNvPr id="14" name="Retângulo 28"/>
          <p:cNvSpPr/>
          <p:nvPr/>
        </p:nvSpPr>
        <p:spPr>
          <a:xfrm>
            <a:off x="5648972" y="3746822"/>
            <a:ext cx="2160240" cy="309600"/>
          </a:xfrm>
          <a:prstGeom prst="rect">
            <a:avLst/>
          </a:prstGeom>
          <a:ln w="952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100" b="1" dirty="0" smtClean="0">
                <a:latin typeface="Arial" pitchFamily="34" charset="0"/>
                <a:cs typeface="Arial" pitchFamily="34" charset="0"/>
              </a:rPr>
              <a:t>Arquitetura de Referência</a:t>
            </a:r>
          </a:p>
        </p:txBody>
      </p:sp>
      <p:sp>
        <p:nvSpPr>
          <p:cNvPr id="15" name="Retângulo 29"/>
          <p:cNvSpPr/>
          <p:nvPr/>
        </p:nvSpPr>
        <p:spPr>
          <a:xfrm>
            <a:off x="5639594" y="4135016"/>
            <a:ext cx="2160240" cy="380950"/>
          </a:xfrm>
          <a:prstGeom prst="rect">
            <a:avLst/>
          </a:prstGeom>
          <a:ln w="952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100" b="1" dirty="0" smtClean="0">
                <a:latin typeface="Arial" pitchFamily="34" charset="0"/>
                <a:cs typeface="Arial" pitchFamily="34" charset="0"/>
              </a:rPr>
              <a:t>Padrões, Políticas e Processos</a:t>
            </a:r>
          </a:p>
        </p:txBody>
      </p:sp>
      <p:sp>
        <p:nvSpPr>
          <p:cNvPr id="16" name="Retângulo de cantos arredondados 30"/>
          <p:cNvSpPr/>
          <p:nvPr/>
        </p:nvSpPr>
        <p:spPr>
          <a:xfrm>
            <a:off x="5516488" y="3363838"/>
            <a:ext cx="2439888" cy="1224136"/>
          </a:xfrm>
          <a:prstGeom prst="roundRect">
            <a:avLst>
              <a:gd name="adj" fmla="val 14168"/>
            </a:avLst>
          </a:prstGeom>
          <a:noFill/>
          <a:ln w="12700">
            <a:solidFill>
              <a:srgbClr val="424490"/>
            </a:solidFill>
            <a:prstDash val="dash"/>
          </a:ln>
        </p:spPr>
        <p:txBody>
          <a:bodyPr wrap="square" rtlCol="0" anchor="t">
            <a:noAutofit/>
          </a:bodyPr>
          <a:lstStyle/>
          <a:p>
            <a:pPr algn="ctr"/>
            <a:r>
              <a:rPr lang="pt-BR" sz="14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Barramento</a:t>
            </a:r>
            <a:r>
              <a:rPr lang="pt-BR" sz="1400" b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BR" sz="14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Corporativo</a:t>
            </a:r>
          </a:p>
        </p:txBody>
      </p:sp>
      <p:sp>
        <p:nvSpPr>
          <p:cNvPr id="17" name="Retângulo de cantos arredondados 27"/>
          <p:cNvSpPr/>
          <p:nvPr/>
        </p:nvSpPr>
        <p:spPr>
          <a:xfrm>
            <a:off x="5364088" y="2427734"/>
            <a:ext cx="2736304" cy="2304256"/>
          </a:xfrm>
          <a:prstGeom prst="roundRect">
            <a:avLst>
              <a:gd name="adj" fmla="val 10869"/>
            </a:avLst>
          </a:prstGeom>
          <a:noFill/>
          <a:ln w="12700">
            <a:solidFill>
              <a:srgbClr val="424490"/>
            </a:solidFill>
            <a:prstDash val="dash"/>
          </a:ln>
        </p:spPr>
        <p:txBody>
          <a:bodyPr wrap="square" rtlCol="0" anchor="t">
            <a:noAutofit/>
          </a:bodyPr>
          <a:lstStyle/>
          <a:p>
            <a:pPr algn="ctr"/>
            <a:r>
              <a:rPr lang="pt-BR" sz="14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Governança SOA</a:t>
            </a:r>
          </a:p>
        </p:txBody>
      </p:sp>
    </p:spTree>
    <p:extLst>
      <p:ext uri="{BB962C8B-B14F-4D97-AF65-F5344CB8AC3E}">
        <p14:creationId xmlns:p14="http://schemas.microsoft.com/office/powerpoint/2010/main" val="28488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4304879"/>
              </p:ext>
            </p:extLst>
          </p:nvPr>
        </p:nvGraphicFramePr>
        <p:xfrm>
          <a:off x="467544" y="1175638"/>
          <a:ext cx="8136904" cy="1925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40360"/>
                <a:gridCol w="4104456"/>
                <a:gridCol w="792088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  <a:r>
                        <a:rPr lang="pt-BR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Documento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37624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i -</a:t>
                      </a:r>
                      <a:r>
                        <a:rPr lang="pt-BR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rquitetura de Ref. SOA </a:t>
                      </a: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Blueprint 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lueprint</a:t>
                      </a:r>
                      <a:r>
                        <a:rPr lang="pt-BR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 Arquitetura de Referência SOA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6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i - Arquitetura de Serviços - Introdução e Casos de Uso SO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oduçã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os conceitos de SOA e casos de uso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1</a:t>
                      </a:r>
                      <a:endParaRPr lang="pt-BR" sz="1200" i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2103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ítulo 1"/>
          <p:cNvSpPr txBox="1">
            <a:spLocks/>
          </p:cNvSpPr>
          <p:nvPr/>
        </p:nvSpPr>
        <p:spPr>
          <a:xfrm>
            <a:off x="468296" y="330210"/>
            <a:ext cx="6768000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pt-BR" sz="1800" b="1" kern="120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ferências</a:t>
            </a: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srgbClr val="009AA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3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27105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0</a:t>
            </a:fld>
            <a:endParaRPr lang="pt-BR" dirty="0"/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5323744"/>
              </p:ext>
            </p:extLst>
          </p:nvPr>
        </p:nvGraphicFramePr>
        <p:xfrm>
          <a:off x="467544" y="1923678"/>
          <a:ext cx="7920880" cy="271272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820892"/>
                <a:gridCol w="6099988"/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pt-BR" sz="1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cessos</a:t>
                      </a:r>
                      <a:endParaRPr lang="pt-BR" sz="16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ver e alinhar o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cesso de TI 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ra aplicar as melhores práticas de desenvolvimento de soluções baseado em frameworks da indústria</a:t>
                      </a:r>
                      <a:r>
                        <a:rPr lang="pt-B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OASIS)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 padrões Telecom (TAM, SID) para</a:t>
                      </a:r>
                      <a:r>
                        <a:rPr lang="pt-B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que o TI  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iga responder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is rapidamente 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às demandas do negócio</a:t>
                      </a: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pt-BR" sz="1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rganização</a:t>
                      </a:r>
                      <a:endParaRPr lang="pt-BR" sz="16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dirty="0" smtClean="0"/>
                        <a:t>Fazer </a:t>
                      </a:r>
                      <a:r>
                        <a:rPr lang="pt-BR" sz="1400" b="1" dirty="0" smtClean="0"/>
                        <a:t>evoluir as capacidades </a:t>
                      </a:r>
                      <a:r>
                        <a:rPr lang="pt-BR" sz="1400" dirty="0" smtClean="0"/>
                        <a:t>da</a:t>
                      </a:r>
                      <a:r>
                        <a:rPr lang="pt-BR" sz="1400" baseline="0" dirty="0" smtClean="0"/>
                        <a:t> organização </a:t>
                      </a:r>
                      <a:r>
                        <a:rPr lang="pt-BR" sz="1400" dirty="0" smtClean="0"/>
                        <a:t>para adoptar, construir e suportar uma SOA e assim c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tribuir para eficiência de TI com a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utilização de serviços 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 integração</a:t>
                      </a: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6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rquitetura</a:t>
                      </a:r>
                      <a:endParaRPr lang="pt-BR" sz="16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oiar os projetos com uma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quitetura de Referência 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 Integração (SOA), através</a:t>
                      </a:r>
                      <a:r>
                        <a:rPr lang="pt-B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a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dronização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os componentes da Arquitetura de Serviços</a:t>
                      </a: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pt-BR" sz="1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ecnologia</a:t>
                      </a:r>
                      <a:endParaRPr lang="pt-BR" sz="16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valiar</a:t>
                      </a:r>
                      <a:r>
                        <a:rPr lang="pt-B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 Implementar novas ferramentas que f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ilitem a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novação tecnológica 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</a:t>
                      </a:r>
                      <a:r>
                        <a:rPr lang="pt-B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rquitetura de Integração e facilitem o suporte e governança da Arquitetura</a:t>
                      </a:r>
                      <a:endParaRPr lang="pt-BR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9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131590"/>
            <a:ext cx="8146800" cy="738664"/>
          </a:xfrm>
        </p:spPr>
        <p:txBody>
          <a:bodyPr/>
          <a:lstStyle/>
          <a:p>
            <a:r>
              <a:rPr lang="pt-BR" dirty="0" smtClean="0"/>
              <a:t>Os objetivos deste novo processo de</a:t>
            </a:r>
            <a:r>
              <a:rPr lang="pt-BR" b="1" dirty="0" smtClean="0"/>
              <a:t> governança SOA </a:t>
            </a:r>
            <a:r>
              <a:rPr lang="pt-BR" dirty="0" smtClean="0"/>
              <a:t>é rever e alinhar os </a:t>
            </a:r>
            <a:r>
              <a:rPr lang="pt-BR" b="1" dirty="0" smtClean="0"/>
              <a:t>processos</a:t>
            </a:r>
            <a:r>
              <a:rPr lang="pt-BR" dirty="0"/>
              <a:t>, </a:t>
            </a:r>
            <a:r>
              <a:rPr lang="pt-BR" b="1" dirty="0" smtClean="0"/>
              <a:t>organização, arquitetura</a:t>
            </a:r>
            <a:r>
              <a:rPr lang="pt-BR" dirty="0" smtClean="0"/>
              <a:t> </a:t>
            </a:r>
            <a:r>
              <a:rPr lang="pt-BR" dirty="0"/>
              <a:t>e </a:t>
            </a:r>
            <a:r>
              <a:rPr lang="pt-BR" b="1" dirty="0"/>
              <a:t>ferramentas</a:t>
            </a:r>
            <a:r>
              <a:rPr lang="pt-BR" dirty="0"/>
              <a:t> </a:t>
            </a:r>
            <a:r>
              <a:rPr lang="pt-BR" dirty="0" smtClean="0"/>
              <a:t>para que estes suportem </a:t>
            </a:r>
            <a:r>
              <a:rPr lang="pt-BR" dirty="0"/>
              <a:t>a </a:t>
            </a:r>
            <a:r>
              <a:rPr lang="pt-BR" b="1" dirty="0"/>
              <a:t>gestão efetiva </a:t>
            </a:r>
            <a:r>
              <a:rPr lang="pt-BR" dirty="0"/>
              <a:t>dos </a:t>
            </a:r>
            <a:r>
              <a:rPr lang="pt-BR" dirty="0" smtClean="0"/>
              <a:t>ativos (serviços) </a:t>
            </a:r>
            <a:r>
              <a:rPr lang="pt-BR" dirty="0"/>
              <a:t>da arquitetura </a:t>
            </a:r>
            <a:r>
              <a:rPr lang="pt-BR" dirty="0" smtClean="0"/>
              <a:t>de integração da OI durante </a:t>
            </a:r>
            <a:r>
              <a:rPr lang="pt-BR" dirty="0"/>
              <a:t>o ciclo de vida destes</a:t>
            </a:r>
            <a:r>
              <a:rPr lang="pt-BR" dirty="0" smtClean="0"/>
              <a:t>.</a:t>
            </a:r>
            <a:endParaRPr lang="pt-BR" dirty="0"/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Referência SOA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Nova Governança!</a:t>
            </a:r>
            <a:endParaRPr lang="pt-BR" b="0" i="1" dirty="0"/>
          </a:p>
        </p:txBody>
      </p:sp>
    </p:spTree>
    <p:extLst>
      <p:ext uri="{BB962C8B-B14F-4D97-AF65-F5344CB8AC3E}">
        <p14:creationId xmlns:p14="http://schemas.microsoft.com/office/powerpoint/2010/main" val="3996025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</a:t>
            </a:r>
            <a:r>
              <a:rPr lang="pt-BR" dirty="0" smtClean="0"/>
              <a:t>Referência SOA</a:t>
            </a:r>
            <a:br>
              <a:rPr lang="pt-BR" dirty="0" smtClean="0"/>
            </a:br>
            <a:r>
              <a:rPr lang="pt-BR" b="0" i="1" dirty="0" smtClean="0"/>
              <a:t>Modelo Conceitual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1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499992" y="1357200"/>
            <a:ext cx="4078808" cy="2850011"/>
          </a:xfrm>
        </p:spPr>
        <p:txBody>
          <a:bodyPr/>
          <a:lstStyle/>
          <a:p>
            <a:r>
              <a:rPr lang="pt-BR" dirty="0" smtClean="0"/>
              <a:t>Uma </a:t>
            </a:r>
            <a:r>
              <a:rPr lang="pt-BR" b="1" u="sng" dirty="0" smtClean="0"/>
              <a:t>Arquitetura de Referência </a:t>
            </a:r>
            <a:r>
              <a:rPr lang="pt-BR" dirty="0" smtClean="0"/>
              <a:t>define os </a:t>
            </a:r>
            <a:r>
              <a:rPr lang="pt-BR" b="1" dirty="0" smtClean="0"/>
              <a:t>padrões</a:t>
            </a:r>
            <a:r>
              <a:rPr lang="pt-BR" dirty="0" smtClean="0"/>
              <a:t> a serem empregados e identifica as </a:t>
            </a:r>
            <a:r>
              <a:rPr lang="pt-BR" b="1" dirty="0" smtClean="0"/>
              <a:t>camadas</a:t>
            </a:r>
            <a:r>
              <a:rPr lang="pt-BR" dirty="0" smtClean="0"/>
              <a:t> e </a:t>
            </a:r>
            <a:r>
              <a:rPr lang="pt-BR" b="1" dirty="0" smtClean="0"/>
              <a:t>componentes</a:t>
            </a:r>
            <a:r>
              <a:rPr lang="pt-BR" dirty="0" smtClean="0"/>
              <a:t> necessários para  a implementação duma Arquitetura de Serviços (SOA).</a:t>
            </a:r>
          </a:p>
          <a:p>
            <a:endParaRPr lang="pt-BR" dirty="0"/>
          </a:p>
          <a:p>
            <a:r>
              <a:rPr lang="pt-BR" dirty="0" smtClean="0"/>
              <a:t>Serve também de </a:t>
            </a:r>
            <a:r>
              <a:rPr lang="pt-BR" b="1" dirty="0" smtClean="0"/>
              <a:t>referência</a:t>
            </a:r>
            <a:r>
              <a:rPr lang="pt-BR" dirty="0" smtClean="0"/>
              <a:t> para determinar a </a:t>
            </a:r>
            <a:r>
              <a:rPr lang="pt-BR" b="1" dirty="0" smtClean="0"/>
              <a:t>arquitetura técnica </a:t>
            </a:r>
            <a:r>
              <a:rPr lang="pt-BR" dirty="0" smtClean="0"/>
              <a:t>e os processos geridos pela </a:t>
            </a:r>
            <a:r>
              <a:rPr lang="pt-BR" b="1" dirty="0" smtClean="0"/>
              <a:t>governança</a:t>
            </a:r>
            <a:r>
              <a:rPr lang="pt-BR" dirty="0" smtClean="0"/>
              <a:t> SOA.</a:t>
            </a:r>
          </a:p>
          <a:p>
            <a:endParaRPr lang="pt-BR" dirty="0"/>
          </a:p>
          <a:p>
            <a:r>
              <a:rPr lang="pt-BR" dirty="0" smtClean="0"/>
              <a:t>A nossa </a:t>
            </a:r>
            <a:r>
              <a:rPr lang="pt-BR" dirty="0"/>
              <a:t>arquitetura </a:t>
            </a:r>
            <a:r>
              <a:rPr lang="pt-BR" dirty="0" smtClean="0"/>
              <a:t>é baseada na arquitetura SOA </a:t>
            </a:r>
            <a:r>
              <a:rPr lang="pt-BR" dirty="0"/>
              <a:t>de referência do </a:t>
            </a:r>
            <a:r>
              <a:rPr lang="pt-BR" i="1" dirty="0" smtClean="0"/>
              <a:t>“The </a:t>
            </a:r>
            <a:r>
              <a:rPr lang="pt-BR" i="1" dirty="0"/>
              <a:t>Open </a:t>
            </a:r>
            <a:r>
              <a:rPr lang="pt-BR" i="1" dirty="0" err="1" smtClean="0"/>
              <a:t>Group</a:t>
            </a:r>
            <a:r>
              <a:rPr lang="pt-BR" i="1" dirty="0" smtClean="0"/>
              <a:t>”</a:t>
            </a:r>
            <a:endParaRPr lang="pt-BR" i="1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635646"/>
            <a:ext cx="4000500" cy="2274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2759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Arquitetura de Referência SOA</a:t>
            </a:r>
            <a:br>
              <a:rPr lang="pt-BR" dirty="0" smtClean="0"/>
            </a:br>
            <a:r>
              <a:rPr lang="pt-BR" b="0" i="1" dirty="0" smtClean="0"/>
              <a:t>Modelo Conceitual</a:t>
            </a:r>
            <a:r>
              <a:rPr lang="pt-BR" dirty="0" smtClean="0"/>
              <a:t> 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2</a:t>
            </a:fld>
            <a:endParaRPr lang="pt-BR" dirty="0"/>
          </a:p>
        </p:txBody>
      </p:sp>
      <p:sp>
        <p:nvSpPr>
          <p:cNvPr id="5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6516216" y="1059582"/>
            <a:ext cx="2448272" cy="3410164"/>
          </a:xfrm>
        </p:spPr>
        <p:txBody>
          <a:bodyPr/>
          <a:lstStyle/>
          <a:p>
            <a:r>
              <a:rPr lang="pt-BR" dirty="0" smtClean="0"/>
              <a:t>A arquitetura é suportada por várias </a:t>
            </a:r>
            <a:r>
              <a:rPr lang="pt-BR" b="1" dirty="0" smtClean="0"/>
              <a:t>camadas</a:t>
            </a:r>
            <a:r>
              <a:rPr lang="pt-BR" dirty="0" smtClean="0"/>
              <a:t> e </a:t>
            </a:r>
            <a:r>
              <a:rPr lang="pt-BR" b="1" dirty="0" smtClean="0"/>
              <a:t>componentes</a:t>
            </a:r>
            <a:r>
              <a:rPr lang="pt-BR" dirty="0" smtClean="0"/>
              <a:t>:</a:t>
            </a:r>
          </a:p>
          <a:p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Governanç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Desenvolvim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Inform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Runtime (Arquitetura de Serviços &amp; Framework de Execuçã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Operações (Monitorização &amp; Performanc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Segurança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752" y="1072676"/>
            <a:ext cx="5874448" cy="3659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070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131590"/>
            <a:ext cx="2160240" cy="1228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</a:t>
            </a:r>
            <a:r>
              <a:rPr lang="pt-BR" dirty="0" smtClean="0"/>
              <a:t>Referência SOA</a:t>
            </a:r>
            <a:br>
              <a:rPr lang="pt-BR" dirty="0" smtClean="0"/>
            </a:br>
            <a:r>
              <a:rPr lang="pt-BR" b="0" i="1" dirty="0" smtClean="0"/>
              <a:t>Componentes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3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2699792" y="1131590"/>
            <a:ext cx="5879008" cy="738664"/>
          </a:xfrm>
        </p:spPr>
        <p:txBody>
          <a:bodyPr/>
          <a:lstStyle/>
          <a:p>
            <a:r>
              <a:rPr lang="pt-BR" dirty="0" smtClean="0"/>
              <a:t>A camada </a:t>
            </a:r>
            <a:r>
              <a:rPr lang="pt-BR" dirty="0"/>
              <a:t>de </a:t>
            </a:r>
            <a:r>
              <a:rPr lang="pt-BR" b="1" dirty="0" smtClean="0"/>
              <a:t>Governança</a:t>
            </a:r>
            <a:r>
              <a:rPr lang="pt-BR" dirty="0" smtClean="0"/>
              <a:t> </a:t>
            </a:r>
            <a:r>
              <a:rPr lang="pt-BR" dirty="0"/>
              <a:t>é responsável por suportar todo o processo de gestão dos ativos da arquitetura SOA </a:t>
            </a:r>
            <a:r>
              <a:rPr lang="pt-BR" dirty="0" smtClean="0"/>
              <a:t>através dum conjunto </a:t>
            </a:r>
            <a:r>
              <a:rPr lang="pt-BR" dirty="0"/>
              <a:t>de processos, </a:t>
            </a:r>
            <a:r>
              <a:rPr lang="pt-BR" dirty="0" smtClean="0"/>
              <a:t>padrões, políticas </a:t>
            </a:r>
            <a:r>
              <a:rPr lang="pt-BR" dirty="0"/>
              <a:t>e </a:t>
            </a:r>
            <a:r>
              <a:rPr lang="pt-BR" dirty="0" smtClean="0"/>
              <a:t>procedimentos.</a:t>
            </a:r>
            <a:endParaRPr lang="pt-BR" i="1" dirty="0"/>
          </a:p>
        </p:txBody>
      </p:sp>
      <p:sp>
        <p:nvSpPr>
          <p:cNvPr id="6" name="Retângulo 5"/>
          <p:cNvSpPr/>
          <p:nvPr/>
        </p:nvSpPr>
        <p:spPr>
          <a:xfrm>
            <a:off x="2411760" y="1270337"/>
            <a:ext cx="174646" cy="103664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spaço Reservado para Conteúdo 3"/>
          <p:cNvSpPr txBox="1">
            <a:spLocks/>
          </p:cNvSpPr>
          <p:nvPr/>
        </p:nvSpPr>
        <p:spPr>
          <a:xfrm>
            <a:off x="2699792" y="1977102"/>
            <a:ext cx="58790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A camada de </a:t>
            </a:r>
            <a:r>
              <a:rPr lang="pt-BR" b="1" dirty="0" smtClean="0"/>
              <a:t>Desenvolvimento </a:t>
            </a:r>
            <a:r>
              <a:rPr lang="pt-BR" dirty="0" smtClean="0"/>
              <a:t>é responsável por suportar todo o processo de desenvolvimento dos componentes e ativos da arquitetura SOA através dum conjunto de processos, procedimentos e ferramentas.</a:t>
            </a:r>
            <a:endParaRPr lang="pt-BR" i="1" dirty="0"/>
          </a:p>
        </p:txBody>
      </p:sp>
      <p:sp>
        <p:nvSpPr>
          <p:cNvPr id="8" name="Retângulo 7"/>
          <p:cNvSpPr/>
          <p:nvPr/>
        </p:nvSpPr>
        <p:spPr>
          <a:xfrm>
            <a:off x="2195736" y="1270337"/>
            <a:ext cx="174646" cy="103664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2699792" y="2769771"/>
            <a:ext cx="58790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A camada de </a:t>
            </a:r>
            <a:r>
              <a:rPr lang="pt-BR" b="1" dirty="0" smtClean="0"/>
              <a:t>Informação </a:t>
            </a:r>
            <a:r>
              <a:rPr lang="pt-BR" dirty="0" smtClean="0"/>
              <a:t>é responsável </a:t>
            </a:r>
            <a:r>
              <a:rPr lang="pt-BR" dirty="0"/>
              <a:t>por fornecer uma representação </a:t>
            </a:r>
            <a:r>
              <a:rPr lang="pt-BR" dirty="0" smtClean="0"/>
              <a:t>unificada (</a:t>
            </a:r>
            <a:r>
              <a:rPr lang="pt-BR" b="1" dirty="0"/>
              <a:t>Modelo Canônico </a:t>
            </a:r>
            <a:r>
              <a:rPr lang="pt-BR" dirty="0"/>
              <a:t>de Integração</a:t>
            </a:r>
            <a:r>
              <a:rPr lang="pt-BR" dirty="0" smtClean="0"/>
              <a:t>) </a:t>
            </a:r>
            <a:r>
              <a:rPr lang="pt-BR" dirty="0"/>
              <a:t>das informações </a:t>
            </a:r>
            <a:r>
              <a:rPr lang="pt-BR" dirty="0" smtClean="0"/>
              <a:t>e outros metadados (</a:t>
            </a:r>
            <a:r>
              <a:rPr lang="pt-BR" b="1" dirty="0" smtClean="0"/>
              <a:t>Mensagem Canônica</a:t>
            </a:r>
            <a:r>
              <a:rPr lang="pt-BR" dirty="0" smtClean="0"/>
              <a:t>) necessários </a:t>
            </a:r>
            <a:r>
              <a:rPr lang="pt-BR" dirty="0"/>
              <a:t>n</a:t>
            </a:r>
            <a:r>
              <a:rPr lang="pt-BR" dirty="0" smtClean="0"/>
              <a:t>a </a:t>
            </a:r>
            <a:r>
              <a:rPr lang="pt-BR" dirty="0"/>
              <a:t>implementação</a:t>
            </a:r>
            <a:r>
              <a:rPr lang="pt-BR" dirty="0" smtClean="0"/>
              <a:t> dos </a:t>
            </a:r>
            <a:r>
              <a:rPr lang="pt-BR" dirty="0"/>
              <a:t>serviços de TI, aplicações e </a:t>
            </a:r>
            <a:r>
              <a:rPr lang="pt-BR" dirty="0" smtClean="0"/>
              <a:t>sistemas.</a:t>
            </a:r>
          </a:p>
        </p:txBody>
      </p:sp>
      <p:sp>
        <p:nvSpPr>
          <p:cNvPr id="10" name="Retângulo 9"/>
          <p:cNvSpPr/>
          <p:nvPr/>
        </p:nvSpPr>
        <p:spPr>
          <a:xfrm>
            <a:off x="940970" y="1274953"/>
            <a:ext cx="1182758" cy="103664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Espaço Reservado para Conteúdo 3"/>
          <p:cNvSpPr txBox="1">
            <a:spLocks/>
          </p:cNvSpPr>
          <p:nvPr/>
        </p:nvSpPr>
        <p:spPr>
          <a:xfrm>
            <a:off x="2699792" y="3777302"/>
            <a:ext cx="58790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A camada de </a:t>
            </a:r>
            <a:r>
              <a:rPr lang="pt-BR" b="1" dirty="0" smtClean="0"/>
              <a:t>Runtime </a:t>
            </a:r>
            <a:r>
              <a:rPr lang="pt-BR" dirty="0" smtClean="0"/>
              <a:t>é responsável por fornecer todas </a:t>
            </a:r>
            <a:r>
              <a:rPr lang="pt-BR" dirty="0"/>
              <a:t>as funcionalidades de Integração e faz a interconexão entre as diversas camadas e plataformas de solução.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1027856" y="1307434"/>
            <a:ext cx="807840" cy="77884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7246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6" grpId="0" animBg="1"/>
      <p:bldP spid="7" grpId="0"/>
      <p:bldP spid="8" grpId="0" animBg="1"/>
      <p:bldP spid="9" grpId="0"/>
      <p:bldP spid="10" grpId="0" animBg="1"/>
      <p:bldP spid="12" grpId="0"/>
      <p:bldP spid="13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131590"/>
            <a:ext cx="2160240" cy="1228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Arquitetura de Referência SOA</a:t>
            </a:r>
            <a:br>
              <a:rPr lang="pt-BR" dirty="0" smtClean="0"/>
            </a:br>
            <a:r>
              <a:rPr lang="pt-BR" b="0" i="1" dirty="0" smtClean="0"/>
              <a:t>Componentes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4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2699792" y="1131590"/>
            <a:ext cx="5879008" cy="1169551"/>
          </a:xfrm>
        </p:spPr>
        <p:txBody>
          <a:bodyPr/>
          <a:lstStyle/>
          <a:p>
            <a:r>
              <a:rPr lang="pt-BR" dirty="0" smtClean="0"/>
              <a:t>A camada de </a:t>
            </a:r>
            <a:r>
              <a:rPr lang="pt-BR" b="1" dirty="0" smtClean="0"/>
              <a:t>Operações </a:t>
            </a:r>
            <a:r>
              <a:rPr lang="pt-BR" dirty="0" smtClean="0"/>
              <a:t>é responsável por fornecer as capacidades para fazer a monitorização operacional de toda a arquitetura (disponibilidade, desempenho, etc... ) e manutenção da execução dos serviços com um foco exclusivo aos componentes tecnológicos que suportam os serviços.</a:t>
            </a:r>
            <a:endParaRPr lang="pt-BR" i="1" dirty="0"/>
          </a:p>
        </p:txBody>
      </p:sp>
      <p:sp>
        <p:nvSpPr>
          <p:cNvPr id="6" name="Retângulo 5"/>
          <p:cNvSpPr/>
          <p:nvPr/>
        </p:nvSpPr>
        <p:spPr>
          <a:xfrm>
            <a:off x="2411760" y="1270337"/>
            <a:ext cx="174646" cy="103664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spaço Reservado para Conteúdo 3"/>
          <p:cNvSpPr txBox="1">
            <a:spLocks/>
          </p:cNvSpPr>
          <p:nvPr/>
        </p:nvSpPr>
        <p:spPr>
          <a:xfrm>
            <a:off x="2699792" y="2481158"/>
            <a:ext cx="58790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A camada de </a:t>
            </a:r>
            <a:r>
              <a:rPr lang="pt-BR" b="1" dirty="0" smtClean="0"/>
              <a:t>Segurança </a:t>
            </a:r>
            <a:r>
              <a:rPr lang="pt-BR" dirty="0" smtClean="0"/>
              <a:t>é responsável por fornecer os serviços de infraestrutura necessários para implementar as políticas de segurança, tais como </a:t>
            </a:r>
            <a:r>
              <a:rPr lang="pt-BR" dirty="0"/>
              <a:t>identidade, autenticação, confidencialidade, autorização, </a:t>
            </a:r>
            <a:r>
              <a:rPr lang="pt-BR" dirty="0" smtClean="0"/>
              <a:t>auditoria</a:t>
            </a:r>
            <a:r>
              <a:rPr lang="pt-BR" dirty="0"/>
              <a:t>, integridade das </a:t>
            </a:r>
            <a:r>
              <a:rPr lang="pt-BR" dirty="0" smtClean="0"/>
              <a:t>informações, necessárias aos serviços. </a:t>
            </a:r>
            <a:endParaRPr lang="pt-BR" i="1" dirty="0"/>
          </a:p>
        </p:txBody>
      </p:sp>
      <p:sp>
        <p:nvSpPr>
          <p:cNvPr id="8" name="Retângulo 7"/>
          <p:cNvSpPr/>
          <p:nvPr/>
        </p:nvSpPr>
        <p:spPr>
          <a:xfrm>
            <a:off x="2195736" y="1270337"/>
            <a:ext cx="174646" cy="103664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/>
          <p:cNvSpPr/>
          <p:nvPr/>
        </p:nvSpPr>
        <p:spPr>
          <a:xfrm>
            <a:off x="940970" y="1274953"/>
            <a:ext cx="1182758" cy="103664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/>
          <p:cNvSpPr/>
          <p:nvPr/>
        </p:nvSpPr>
        <p:spPr>
          <a:xfrm>
            <a:off x="1027856" y="1307434"/>
            <a:ext cx="807840" cy="77884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 13"/>
          <p:cNvSpPr/>
          <p:nvPr/>
        </p:nvSpPr>
        <p:spPr>
          <a:xfrm>
            <a:off x="724946" y="1275606"/>
            <a:ext cx="174646" cy="103664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Retângulo 16"/>
          <p:cNvSpPr/>
          <p:nvPr/>
        </p:nvSpPr>
        <p:spPr>
          <a:xfrm>
            <a:off x="539552" y="1275606"/>
            <a:ext cx="174646" cy="53196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854946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7" grpId="0"/>
      <p:bldP spid="14" grpId="0" animBg="1"/>
      <p:bldP spid="17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Arquitetura de Referência SOA</a:t>
            </a:r>
            <a:br>
              <a:rPr lang="pt-BR" dirty="0" smtClean="0"/>
            </a:br>
            <a:r>
              <a:rPr lang="pt-BR" b="0" i="1" dirty="0" smtClean="0"/>
              <a:t>Arquitetura Técnica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5</a:t>
            </a:fld>
            <a:endParaRPr lang="pt-BR" dirty="0"/>
          </a:p>
        </p:txBody>
      </p:sp>
      <p:sp>
        <p:nvSpPr>
          <p:cNvPr id="8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21184" y="1059582"/>
            <a:ext cx="8327280" cy="523220"/>
          </a:xfrm>
        </p:spPr>
        <p:txBody>
          <a:bodyPr/>
          <a:lstStyle/>
          <a:p>
            <a:r>
              <a:rPr lang="pt-BR" dirty="0"/>
              <a:t>A</a:t>
            </a:r>
            <a:r>
              <a:rPr lang="pt-BR" dirty="0" smtClean="0"/>
              <a:t> </a:t>
            </a:r>
            <a:r>
              <a:rPr lang="pt-BR" b="1" dirty="0" smtClean="0"/>
              <a:t>Arquitetura Técnica </a:t>
            </a:r>
            <a:r>
              <a:rPr lang="pt-BR" dirty="0" smtClean="0"/>
              <a:t>que vai suportar os componentes da Arquitetura de Referência SOA é baseada no </a:t>
            </a:r>
            <a:r>
              <a:rPr lang="pt-BR" b="1" dirty="0" smtClean="0"/>
              <a:t>Oracle SOA Suite 12c</a:t>
            </a:r>
            <a:r>
              <a:rPr lang="pt-BR" dirty="0" smtClean="0"/>
              <a:t>.</a:t>
            </a:r>
            <a:endParaRPr lang="pt-BR" i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635646"/>
            <a:ext cx="8139113" cy="297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28305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824400" y="3402000"/>
            <a:ext cx="6843944" cy="954000"/>
          </a:xfrm>
        </p:spPr>
        <p:txBody>
          <a:bodyPr/>
          <a:lstStyle/>
          <a:p>
            <a:r>
              <a:rPr lang="pt-BR" dirty="0" smtClean="0"/>
              <a:t>Arquitetura de Serviç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9451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7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707904" y="1851670"/>
            <a:ext cx="4968552" cy="2763834"/>
          </a:xfrm>
        </p:spPr>
        <p:txBody>
          <a:bodyPr/>
          <a:lstStyle/>
          <a:p>
            <a:pPr eaLnBrk="0" hangingPunct="0">
              <a:spcBef>
                <a:spcPts val="336"/>
              </a:spcBef>
            </a:pPr>
            <a:r>
              <a:rPr lang="pt-BR" dirty="0" smtClean="0"/>
              <a:t>Uma dessas </a:t>
            </a:r>
            <a:r>
              <a:rPr lang="pt-BR" b="1" dirty="0" smtClean="0"/>
              <a:t>camadas</a:t>
            </a:r>
            <a:r>
              <a:rPr lang="pt-BR" dirty="0" smtClean="0"/>
              <a:t>, a </a:t>
            </a:r>
            <a:r>
              <a:rPr lang="pt-BR" b="1" dirty="0"/>
              <a:t>A</a:t>
            </a:r>
            <a:r>
              <a:rPr lang="pt-BR" b="1" dirty="0" smtClean="0"/>
              <a:t>rquitetura de Serviços</a:t>
            </a:r>
            <a:r>
              <a:rPr lang="pt-BR" dirty="0" smtClean="0"/>
              <a:t> (ou </a:t>
            </a:r>
            <a:r>
              <a:rPr lang="pt-BR" i="1" dirty="0" err="1" smtClean="0"/>
              <a:t>runtime</a:t>
            </a:r>
            <a:r>
              <a:rPr lang="pt-BR" dirty="0" smtClean="0"/>
              <a:t>) disponibiliza todas </a:t>
            </a:r>
            <a:r>
              <a:rPr lang="pt-BR" dirty="0"/>
              <a:t>as funcionalidades de </a:t>
            </a:r>
            <a:r>
              <a:rPr lang="pt-BR" b="1" dirty="0"/>
              <a:t>Integração</a:t>
            </a:r>
            <a:r>
              <a:rPr lang="pt-BR" dirty="0"/>
              <a:t> </a:t>
            </a:r>
            <a:r>
              <a:rPr lang="pt-BR" dirty="0" smtClean="0"/>
              <a:t>características </a:t>
            </a:r>
            <a:r>
              <a:rPr lang="pt-BR" dirty="0"/>
              <a:t>de </a:t>
            </a:r>
            <a:r>
              <a:rPr lang="pt-BR" dirty="0" smtClean="0"/>
              <a:t>um Barramento Corporativo ou </a:t>
            </a:r>
            <a:r>
              <a:rPr lang="pt-BR" dirty="0"/>
              <a:t>ESB (Enterprise Service Bus</a:t>
            </a:r>
            <a:r>
              <a:rPr lang="pt-BR" dirty="0" smtClean="0"/>
              <a:t>), </a:t>
            </a:r>
            <a:r>
              <a:rPr lang="pt-BR" dirty="0"/>
              <a:t>tais como </a:t>
            </a:r>
            <a:r>
              <a:rPr lang="pt-BR" b="1" dirty="0"/>
              <a:t>Validação</a:t>
            </a:r>
            <a:r>
              <a:rPr lang="pt-BR" dirty="0"/>
              <a:t>, </a:t>
            </a:r>
            <a:r>
              <a:rPr lang="pt-BR" b="1" dirty="0"/>
              <a:t>Enriquecimento</a:t>
            </a:r>
            <a:r>
              <a:rPr lang="pt-BR" dirty="0"/>
              <a:t>, </a:t>
            </a:r>
            <a:r>
              <a:rPr lang="pt-BR" b="1" dirty="0"/>
              <a:t>Transformação</a:t>
            </a:r>
            <a:r>
              <a:rPr lang="pt-BR" dirty="0"/>
              <a:t>, </a:t>
            </a:r>
            <a:r>
              <a:rPr lang="pt-BR" b="1" dirty="0"/>
              <a:t>Roteamento</a:t>
            </a:r>
            <a:r>
              <a:rPr lang="pt-BR" dirty="0"/>
              <a:t> e </a:t>
            </a:r>
            <a:r>
              <a:rPr lang="pt-BR" b="1" dirty="0" smtClean="0"/>
              <a:t>Operação</a:t>
            </a:r>
            <a:r>
              <a:rPr lang="pt-BR" dirty="0" smtClean="0"/>
              <a:t> </a:t>
            </a:r>
            <a:r>
              <a:rPr lang="pt-BR" dirty="0"/>
              <a:t>(Padrão VETRO) e os padrões de comunicação para a implementação dos serviços de integração</a:t>
            </a:r>
            <a:r>
              <a:rPr lang="pt-BR" dirty="0" smtClean="0"/>
              <a:t>.</a:t>
            </a:r>
          </a:p>
          <a:p>
            <a:endParaRPr lang="pt-BR" dirty="0"/>
          </a:p>
          <a:p>
            <a:r>
              <a:rPr lang="pt-BR" dirty="0" smtClean="0"/>
              <a:t>Uma </a:t>
            </a:r>
            <a:r>
              <a:rPr lang="pt-BR" b="1" dirty="0" smtClean="0"/>
              <a:t>Framework de Execução </a:t>
            </a:r>
            <a:r>
              <a:rPr lang="pt-BR" dirty="0" smtClean="0"/>
              <a:t>irá também prover serviços </a:t>
            </a:r>
            <a:r>
              <a:rPr lang="pt-BR" dirty="0"/>
              <a:t>e </a:t>
            </a:r>
            <a:r>
              <a:rPr lang="pt-BR" dirty="0" smtClean="0"/>
              <a:t>capacidades (</a:t>
            </a:r>
            <a:r>
              <a:rPr lang="pt-BR" b="1" dirty="0" smtClean="0"/>
              <a:t>Serviços de Infraestrutura</a:t>
            </a:r>
            <a:r>
              <a:rPr lang="pt-BR" dirty="0" smtClean="0"/>
              <a:t>) </a:t>
            </a:r>
            <a:r>
              <a:rPr lang="pt-BR" dirty="0"/>
              <a:t>reutilizáveis por toda a arquitetura de </a:t>
            </a:r>
            <a:r>
              <a:rPr lang="pt-BR" dirty="0" smtClean="0"/>
              <a:t>serviços, tais como </a:t>
            </a:r>
            <a:r>
              <a:rPr lang="pt-BR" b="1" dirty="0" err="1" smtClean="0"/>
              <a:t>Logging</a:t>
            </a:r>
            <a:r>
              <a:rPr lang="pt-BR" dirty="0" smtClean="0"/>
              <a:t>, </a:t>
            </a:r>
            <a:r>
              <a:rPr lang="pt-BR" b="1" dirty="0" smtClean="0"/>
              <a:t>Gestão de Erros </a:t>
            </a:r>
            <a:r>
              <a:rPr lang="pt-BR" dirty="0" smtClean="0"/>
              <a:t>ou </a:t>
            </a:r>
            <a:r>
              <a:rPr lang="pt-BR" b="1" dirty="0" smtClean="0"/>
              <a:t>Tradutor de Dados de Referência</a:t>
            </a:r>
            <a:r>
              <a:rPr lang="pt-BR" dirty="0" smtClean="0"/>
              <a:t>.</a:t>
            </a:r>
            <a:endParaRPr lang="pt-BR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851670"/>
            <a:ext cx="3168486" cy="280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3"/>
          <p:cNvSpPr txBox="1">
            <a:spLocks/>
          </p:cNvSpPr>
          <p:nvPr/>
        </p:nvSpPr>
        <p:spPr>
          <a:xfrm>
            <a:off x="413639" y="1171295"/>
            <a:ext cx="8146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336"/>
              </a:spcBef>
            </a:pPr>
            <a:r>
              <a:rPr lang="en-US" dirty="0" smtClean="0"/>
              <a:t>A </a:t>
            </a:r>
            <a:r>
              <a:rPr lang="pt-BR" dirty="0" smtClean="0"/>
              <a:t>Arquitetura </a:t>
            </a:r>
            <a:r>
              <a:rPr lang="pt-BR" dirty="0"/>
              <a:t>de Referência define os </a:t>
            </a:r>
            <a:r>
              <a:rPr lang="pt-BR" b="1" dirty="0"/>
              <a:t>padrões</a:t>
            </a:r>
            <a:r>
              <a:rPr lang="pt-BR" dirty="0"/>
              <a:t> a serem empregados e identifica as </a:t>
            </a:r>
            <a:r>
              <a:rPr lang="pt-BR" b="1" dirty="0"/>
              <a:t>camadas</a:t>
            </a:r>
            <a:r>
              <a:rPr lang="pt-BR" dirty="0"/>
              <a:t> e </a:t>
            </a:r>
            <a:r>
              <a:rPr lang="pt-BR" b="1" dirty="0"/>
              <a:t>componentes</a:t>
            </a:r>
            <a:r>
              <a:rPr lang="pt-BR" dirty="0"/>
              <a:t> necessários para  a implementação duma </a:t>
            </a:r>
            <a:r>
              <a:rPr lang="pt-BR" b="1" dirty="0"/>
              <a:t>Arquitetura de Serviços </a:t>
            </a:r>
            <a:r>
              <a:rPr lang="pt-BR" dirty="0"/>
              <a:t>(SOA). </a:t>
            </a:r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 smtClean="0"/>
              <a:t>Arquitetura de Referência</a:t>
            </a:r>
            <a:endParaRPr lang="pt-BR" dirty="0"/>
          </a:p>
        </p:txBody>
      </p:sp>
      <p:sp>
        <p:nvSpPr>
          <p:cNvPr id="10" name="Retângulo de cantos arredondados 9"/>
          <p:cNvSpPr/>
          <p:nvPr/>
        </p:nvSpPr>
        <p:spPr>
          <a:xfrm>
            <a:off x="755576" y="2067694"/>
            <a:ext cx="2455473" cy="2016224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de cantos arredondados 10"/>
          <p:cNvSpPr/>
          <p:nvPr/>
        </p:nvSpPr>
        <p:spPr>
          <a:xfrm>
            <a:off x="3635896" y="1794063"/>
            <a:ext cx="5021726" cy="172819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 de cantos arredondados 11"/>
          <p:cNvSpPr/>
          <p:nvPr/>
        </p:nvSpPr>
        <p:spPr>
          <a:xfrm>
            <a:off x="755576" y="4075534"/>
            <a:ext cx="2455473" cy="51244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de cantos arredondados 12"/>
          <p:cNvSpPr/>
          <p:nvPr/>
        </p:nvSpPr>
        <p:spPr>
          <a:xfrm>
            <a:off x="3635896" y="3643486"/>
            <a:ext cx="5021726" cy="101649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25787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 smtClean="0"/>
              <a:t>Topologia da Arquitetura de Serviços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8</a:t>
            </a:fld>
            <a:endParaRPr lang="pt-BR" dirty="0"/>
          </a:p>
        </p:txBody>
      </p:sp>
      <p:sp>
        <p:nvSpPr>
          <p:cNvPr id="1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923928" y="1131590"/>
            <a:ext cx="4824536" cy="3711785"/>
          </a:xfrm>
        </p:spPr>
        <p:txBody>
          <a:bodyPr/>
          <a:lstStyle/>
          <a:p>
            <a:r>
              <a:rPr lang="pt-BR" dirty="0" smtClean="0"/>
              <a:t>A </a:t>
            </a:r>
            <a:r>
              <a:rPr lang="pt-BR" b="1" dirty="0" smtClean="0"/>
              <a:t>Arquitetura de Serviços </a:t>
            </a:r>
            <a:r>
              <a:rPr lang="pt-BR" dirty="0" smtClean="0"/>
              <a:t>foi dividida em </a:t>
            </a:r>
            <a:r>
              <a:rPr lang="pt-BR" b="1" dirty="0" smtClean="0"/>
              <a:t>3 camadas </a:t>
            </a:r>
            <a:r>
              <a:rPr lang="pt-BR" dirty="0" smtClean="0"/>
              <a:t>funcionais para permitir a melhor reutilização dos serviços aí implementados.</a:t>
            </a:r>
          </a:p>
          <a:p>
            <a:endParaRPr lang="pt-BR" dirty="0"/>
          </a:p>
          <a:p>
            <a:r>
              <a:rPr lang="pt-BR" dirty="0" smtClean="0"/>
              <a:t>Os serviços de </a:t>
            </a:r>
            <a:r>
              <a:rPr lang="pt-BR" b="1" dirty="0" smtClean="0"/>
              <a:t>Negócio</a:t>
            </a:r>
            <a:r>
              <a:rPr lang="pt-BR" dirty="0" smtClean="0"/>
              <a:t> expõem </a:t>
            </a:r>
            <a:r>
              <a:rPr lang="pt-BR" dirty="0"/>
              <a:t>aos consumidores externos</a:t>
            </a:r>
            <a:r>
              <a:rPr lang="pt-BR" b="1" dirty="0"/>
              <a:t> </a:t>
            </a:r>
            <a:r>
              <a:rPr lang="pt-BR" dirty="0"/>
              <a:t>as funcionalidades e dados </a:t>
            </a:r>
            <a:r>
              <a:rPr lang="pt-BR" dirty="0" smtClean="0"/>
              <a:t>duma </a:t>
            </a:r>
            <a:r>
              <a:rPr lang="pt-BR" b="1" dirty="0"/>
              <a:t>forma </a:t>
            </a:r>
            <a:r>
              <a:rPr lang="pt-BR" b="1" dirty="0" smtClean="0"/>
              <a:t>padronizada </a:t>
            </a:r>
            <a:r>
              <a:rPr lang="pt-BR" dirty="0" smtClean="0"/>
              <a:t>(transporte e mensagem).</a:t>
            </a:r>
          </a:p>
          <a:p>
            <a:r>
              <a:rPr lang="pt-BR" dirty="0" smtClean="0"/>
              <a:t>Os </a:t>
            </a:r>
            <a:r>
              <a:rPr lang="pt-BR" dirty="0"/>
              <a:t>serviços de </a:t>
            </a:r>
            <a:r>
              <a:rPr lang="pt-BR" b="1" dirty="0" smtClean="0"/>
              <a:t>Orquestração </a:t>
            </a:r>
            <a:r>
              <a:rPr lang="pt-BR" dirty="0" smtClean="0"/>
              <a:t>permitem a </a:t>
            </a:r>
            <a:r>
              <a:rPr lang="pt-BR" u="sng" dirty="0" smtClean="0"/>
              <a:t>integração de sistemas</a:t>
            </a:r>
            <a:r>
              <a:rPr lang="pt-BR" dirty="0" smtClean="0"/>
              <a:t> através da orquestração de serviços de domínios </a:t>
            </a:r>
            <a:r>
              <a:rPr lang="pt-BR" b="1" dirty="0" smtClean="0"/>
              <a:t>aplicacionais </a:t>
            </a:r>
            <a:r>
              <a:rPr lang="pt-BR" b="1" dirty="0"/>
              <a:t>diferentes</a:t>
            </a:r>
            <a:r>
              <a:rPr lang="pt-BR" dirty="0"/>
              <a:t> </a:t>
            </a:r>
            <a:r>
              <a:rPr lang="pt-BR" dirty="0" smtClean="0"/>
              <a:t>ou através de serviços </a:t>
            </a:r>
            <a:r>
              <a:rPr lang="pt-BR" dirty="0"/>
              <a:t>técnicos de integração (tais como alterações de </a:t>
            </a:r>
            <a:r>
              <a:rPr lang="pt-BR" b="1" dirty="0"/>
              <a:t>modelo de dados </a:t>
            </a:r>
            <a:r>
              <a:rPr lang="pt-BR" dirty="0"/>
              <a:t>ou </a:t>
            </a:r>
            <a:r>
              <a:rPr lang="pt-BR" b="1" dirty="0"/>
              <a:t>protocolo de </a:t>
            </a:r>
            <a:r>
              <a:rPr lang="pt-BR" b="1" dirty="0" smtClean="0"/>
              <a:t>mensagem)</a:t>
            </a:r>
          </a:p>
          <a:p>
            <a:r>
              <a:rPr lang="pt-BR" dirty="0" smtClean="0"/>
              <a:t>Os serviços de </a:t>
            </a:r>
            <a:r>
              <a:rPr lang="pt-BR" b="1" dirty="0" smtClean="0"/>
              <a:t>Aplicação</a:t>
            </a:r>
            <a:r>
              <a:rPr lang="pt-BR" dirty="0" smtClean="0"/>
              <a:t> são responsáveis por criar uma camada de abstração </a:t>
            </a:r>
            <a:r>
              <a:rPr lang="pt-BR" b="1" dirty="0" smtClean="0"/>
              <a:t>semântica</a:t>
            </a:r>
            <a:r>
              <a:rPr lang="pt-BR" dirty="0" smtClean="0"/>
              <a:t> e </a:t>
            </a:r>
            <a:r>
              <a:rPr lang="pt-BR" b="1" dirty="0" smtClean="0"/>
              <a:t>técnica</a:t>
            </a:r>
            <a:r>
              <a:rPr lang="pt-BR" dirty="0" smtClean="0"/>
              <a:t> das funcionalidades dos provedores e agrupados nos domínios TAM.</a:t>
            </a:r>
            <a:endParaRPr lang="pt-BR" dirty="0"/>
          </a:p>
        </p:txBody>
      </p:sp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323528" y="4803998"/>
            <a:ext cx="4896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 smtClean="0"/>
              <a:t>*TAM – Telecom </a:t>
            </a:r>
            <a:r>
              <a:rPr lang="pt-BR" sz="800" dirty="0" err="1" smtClean="0"/>
              <a:t>Aplication</a:t>
            </a:r>
            <a:r>
              <a:rPr lang="pt-BR" sz="800" dirty="0" smtClean="0"/>
              <a:t> </a:t>
            </a:r>
            <a:r>
              <a:rPr lang="pt-BR" sz="800" dirty="0" err="1" smtClean="0"/>
              <a:t>Map</a:t>
            </a:r>
            <a:r>
              <a:rPr lang="pt-BR" sz="800" dirty="0" smtClean="0"/>
              <a:t>, </a:t>
            </a:r>
            <a:r>
              <a:rPr lang="pt-BR" sz="800" dirty="0" err="1" smtClean="0"/>
              <a:t>TMForum</a:t>
            </a:r>
            <a:r>
              <a:rPr lang="pt-BR" sz="800" dirty="0" smtClean="0"/>
              <a:t> </a:t>
            </a:r>
            <a:endParaRPr lang="pt-BR" sz="800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457" y="1419622"/>
            <a:ext cx="3642455" cy="3228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ângulo de cantos arredondados 6"/>
          <p:cNvSpPr/>
          <p:nvPr/>
        </p:nvSpPr>
        <p:spPr>
          <a:xfrm>
            <a:off x="755576" y="2067694"/>
            <a:ext cx="2376264" cy="369515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de cantos arredondados 9"/>
          <p:cNvSpPr/>
          <p:nvPr/>
        </p:nvSpPr>
        <p:spPr>
          <a:xfrm>
            <a:off x="3870754" y="2139702"/>
            <a:ext cx="5021726" cy="65462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de cantos arredondados 10"/>
          <p:cNvSpPr/>
          <p:nvPr/>
        </p:nvSpPr>
        <p:spPr>
          <a:xfrm>
            <a:off x="755576" y="2499742"/>
            <a:ext cx="2376264" cy="595109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 de cantos arredondados 11"/>
          <p:cNvSpPr/>
          <p:nvPr/>
        </p:nvSpPr>
        <p:spPr>
          <a:xfrm>
            <a:off x="3870754" y="2797249"/>
            <a:ext cx="5021726" cy="107064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Retângulo de cantos arredondados 14"/>
          <p:cNvSpPr/>
          <p:nvPr/>
        </p:nvSpPr>
        <p:spPr>
          <a:xfrm>
            <a:off x="755576" y="3147814"/>
            <a:ext cx="2376264" cy="72008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 de cantos arredondados 15"/>
          <p:cNvSpPr/>
          <p:nvPr/>
        </p:nvSpPr>
        <p:spPr>
          <a:xfrm>
            <a:off x="3870754" y="3867894"/>
            <a:ext cx="5021726" cy="973315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38949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  <p:bldP spid="11" grpId="0" animBg="1"/>
      <p:bldP spid="12" grpId="0" animBg="1"/>
      <p:bldP spid="15" grpId="0" animBg="1"/>
      <p:bldP spid="16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/>
              <a:t>Barramento </a:t>
            </a:r>
            <a:r>
              <a:rPr lang="pt-BR" b="0" i="1" dirty="0" smtClean="0"/>
              <a:t>Corporativo de </a:t>
            </a:r>
            <a:r>
              <a:rPr lang="pt-BR" b="0" i="1" dirty="0"/>
              <a:t>Serviços </a:t>
            </a:r>
            <a:r>
              <a:rPr lang="pt-BR" b="0" i="1" dirty="0" smtClean="0"/>
              <a:t>“Aplicacionais”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9</a:t>
            </a:fld>
            <a:endParaRPr lang="pt-BR" dirty="0"/>
          </a:p>
        </p:txBody>
      </p:sp>
      <p:sp>
        <p:nvSpPr>
          <p:cNvPr id="1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923928" y="1359110"/>
            <a:ext cx="4824536" cy="3410164"/>
          </a:xfrm>
        </p:spPr>
        <p:txBody>
          <a:bodyPr/>
          <a:lstStyle/>
          <a:p>
            <a:r>
              <a:rPr lang="pt-BR" dirty="0" smtClean="0"/>
              <a:t>Os </a:t>
            </a:r>
            <a:r>
              <a:rPr lang="pt-BR" b="1" dirty="0" smtClean="0"/>
              <a:t>Serviços de Aplicação </a:t>
            </a:r>
            <a:r>
              <a:rPr lang="pt-BR" dirty="0" smtClean="0"/>
              <a:t>tem </a:t>
            </a:r>
            <a:r>
              <a:rPr lang="pt-BR" dirty="0"/>
              <a:t>a responsabilidade de criar </a:t>
            </a:r>
            <a:r>
              <a:rPr lang="pt-BR" dirty="0" smtClean="0"/>
              <a:t>um </a:t>
            </a:r>
            <a:r>
              <a:rPr lang="pt-BR" u="sng" dirty="0" smtClean="0"/>
              <a:t>barramento </a:t>
            </a:r>
            <a:r>
              <a:rPr lang="pt-BR" u="sng" dirty="0"/>
              <a:t>de abstração de dados</a:t>
            </a:r>
            <a:r>
              <a:rPr lang="pt-BR" dirty="0"/>
              <a:t>, expondo interfaces </a:t>
            </a:r>
            <a:r>
              <a:rPr lang="pt-BR" b="1" dirty="0"/>
              <a:t>S(</a:t>
            </a:r>
            <a:r>
              <a:rPr lang="pt-BR" b="1" dirty="0" err="1"/>
              <a:t>Search</a:t>
            </a:r>
            <a:r>
              <a:rPr lang="pt-BR" b="1" dirty="0"/>
              <a:t>)CRUD</a:t>
            </a:r>
            <a:r>
              <a:rPr lang="pt-BR" dirty="0"/>
              <a:t> das entidades do modelo </a:t>
            </a:r>
            <a:r>
              <a:rPr lang="pt-BR" dirty="0" smtClean="0"/>
              <a:t>canônico e utilizando um padrão de mensagens comum (</a:t>
            </a:r>
            <a:r>
              <a:rPr lang="pt-BR" b="1" dirty="0" smtClean="0"/>
              <a:t>mensagem canônica</a:t>
            </a:r>
            <a:r>
              <a:rPr lang="pt-BR" dirty="0" smtClean="0"/>
              <a:t>).</a:t>
            </a:r>
          </a:p>
          <a:p>
            <a:endParaRPr lang="pt-BR" dirty="0"/>
          </a:p>
          <a:p>
            <a:r>
              <a:rPr lang="pt-BR" dirty="0" smtClean="0"/>
              <a:t>Este é um </a:t>
            </a:r>
            <a:r>
              <a:rPr lang="pt-BR" u="sng" dirty="0" smtClean="0"/>
              <a:t>padrão comum</a:t>
            </a:r>
            <a:r>
              <a:rPr lang="pt-BR" dirty="0" smtClean="0"/>
              <a:t> de implementação SOA, pois permite criar um barramento de serviços que expõem </a:t>
            </a:r>
            <a:r>
              <a:rPr lang="pt-BR" b="1" dirty="0" smtClean="0"/>
              <a:t>funcionalidades (e dados) reutilizáveis </a:t>
            </a:r>
            <a:r>
              <a:rPr lang="pt-BR" dirty="0" smtClean="0"/>
              <a:t>por sistemas de outros domínios, permitindo assim o </a:t>
            </a:r>
            <a:r>
              <a:rPr lang="pt-BR" b="1" dirty="0" smtClean="0"/>
              <a:t>desacoplamento</a:t>
            </a:r>
            <a:r>
              <a:rPr lang="pt-BR" dirty="0" smtClean="0"/>
              <a:t> entre sistemas. </a:t>
            </a:r>
            <a:r>
              <a:rPr lang="pt-BR" dirty="0"/>
              <a:t>O uso </a:t>
            </a:r>
            <a:r>
              <a:rPr lang="pt-BR" dirty="0" smtClean="0"/>
              <a:t>dum </a:t>
            </a:r>
            <a:r>
              <a:rPr lang="pt-BR" b="1" dirty="0"/>
              <a:t>modelo canônico de integração</a:t>
            </a:r>
            <a:r>
              <a:rPr lang="pt-BR" dirty="0"/>
              <a:t>, independente dos modelos dos sistemas, permite que se altere o modelo </a:t>
            </a:r>
            <a:r>
              <a:rPr lang="pt-BR" dirty="0" smtClean="0"/>
              <a:t>das mensagens dum </a:t>
            </a:r>
            <a:r>
              <a:rPr lang="pt-BR" dirty="0"/>
              <a:t>sistema sem que se impacte a forma como este comunica com o mundo </a:t>
            </a:r>
            <a:r>
              <a:rPr lang="pt-BR" dirty="0" smtClean="0"/>
              <a:t>exterior (outros sistemas).</a:t>
            </a:r>
            <a:endParaRPr lang="pt-BR" dirty="0"/>
          </a:p>
        </p:txBody>
      </p:sp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323528" y="4803998"/>
            <a:ext cx="4896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 smtClean="0"/>
              <a:t>*TAM – Telecom </a:t>
            </a:r>
            <a:r>
              <a:rPr lang="pt-BR" sz="800" dirty="0" err="1" smtClean="0"/>
              <a:t>Aplication</a:t>
            </a:r>
            <a:r>
              <a:rPr lang="pt-BR" sz="800" dirty="0" smtClean="0"/>
              <a:t> </a:t>
            </a:r>
            <a:r>
              <a:rPr lang="pt-BR" sz="800" dirty="0" err="1" smtClean="0"/>
              <a:t>Map</a:t>
            </a:r>
            <a:r>
              <a:rPr lang="pt-BR" sz="800" dirty="0" smtClean="0"/>
              <a:t>, </a:t>
            </a:r>
            <a:r>
              <a:rPr lang="pt-BR" sz="800" dirty="0" err="1" smtClean="0"/>
              <a:t>TMForum</a:t>
            </a:r>
            <a:r>
              <a:rPr lang="pt-BR" sz="800" dirty="0" smtClean="0"/>
              <a:t> </a:t>
            </a:r>
            <a:endParaRPr lang="pt-BR" sz="800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457" y="1419622"/>
            <a:ext cx="3642455" cy="3228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tângulo de cantos arredondados 7"/>
          <p:cNvSpPr/>
          <p:nvPr/>
        </p:nvSpPr>
        <p:spPr>
          <a:xfrm>
            <a:off x="755576" y="3147814"/>
            <a:ext cx="2376264" cy="72008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31577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900000" y="2283718"/>
            <a:ext cx="7056376" cy="1083374"/>
          </a:xfrm>
        </p:spPr>
        <p:txBody>
          <a:bodyPr/>
          <a:lstStyle/>
          <a:p>
            <a:r>
              <a:rPr lang="pt-BR" dirty="0" smtClean="0"/>
              <a:t>01 </a:t>
            </a:r>
            <a:r>
              <a:rPr lang="pt-BR" b="0" dirty="0" smtClean="0"/>
              <a:t>Introdução a SOA</a:t>
            </a:r>
          </a:p>
          <a:p>
            <a:r>
              <a:rPr lang="pt-BR" dirty="0"/>
              <a:t>02</a:t>
            </a:r>
            <a:r>
              <a:rPr lang="pt-BR" b="0" dirty="0" smtClean="0"/>
              <a:t> Soluções com SOA</a:t>
            </a:r>
          </a:p>
          <a:p>
            <a:r>
              <a:rPr lang="pt-BR" dirty="0" smtClean="0"/>
              <a:t>03</a:t>
            </a:r>
            <a:r>
              <a:rPr lang="pt-BR" b="0" dirty="0" smtClean="0"/>
              <a:t> </a:t>
            </a:r>
            <a:r>
              <a:rPr lang="pt-BR" b="0" dirty="0"/>
              <a:t>Visão da Arquitetura de Referência</a:t>
            </a:r>
          </a:p>
          <a:p>
            <a:r>
              <a:rPr lang="pt-BR" dirty="0" smtClean="0"/>
              <a:t>04 </a:t>
            </a:r>
            <a:r>
              <a:rPr lang="pt-BR" b="0" dirty="0"/>
              <a:t>Arquitetura de Serviços da </a:t>
            </a:r>
            <a:r>
              <a:rPr lang="pt-BR" b="0" dirty="0" smtClean="0"/>
              <a:t>Oi</a:t>
            </a:r>
            <a:endParaRPr lang="pt-BR" b="0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4</a:t>
            </a:fld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900112" y="627534"/>
            <a:ext cx="7056264" cy="738664"/>
          </a:xfrm>
        </p:spPr>
        <p:txBody>
          <a:bodyPr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O presente </a:t>
            </a:r>
            <a:r>
              <a:rPr lang="pt-BR" b="1" dirty="0" smtClean="0">
                <a:latin typeface="Arial" panose="020B0604020202020204" pitchFamily="34" charset="0"/>
                <a:cs typeface="Arial" panose="020B0604020202020204" pitchFamily="34" charset="0"/>
              </a:rPr>
              <a:t>módulo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pretende introduzir conceitos SOA e a nova Arquitetura de Serviços da OI e clarificar como a Arquitetura de Referência SOA irá suportar este paradigma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Espaço Reservado para Texto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 smtClean="0"/>
              <a:t>50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981776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Barramento </a:t>
            </a:r>
            <a:r>
              <a:rPr lang="pt-BR" b="0" i="1" dirty="0"/>
              <a:t>Corporativo </a:t>
            </a:r>
            <a:r>
              <a:rPr lang="pt-BR" b="0" i="1" dirty="0" smtClean="0"/>
              <a:t>de Serviços “Aplicacionais”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40</a:t>
            </a:fld>
            <a:endParaRPr lang="pt-BR" dirty="0"/>
          </a:p>
        </p:txBody>
      </p:sp>
      <p:sp>
        <p:nvSpPr>
          <p:cNvPr id="8" name="Espaço Reservado para Conteúdo 3"/>
          <p:cNvSpPr txBox="1">
            <a:spLocks/>
          </p:cNvSpPr>
          <p:nvPr/>
        </p:nvSpPr>
        <p:spPr>
          <a:xfrm>
            <a:off x="3131840" y="1347614"/>
            <a:ext cx="5904656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pt-BR" dirty="0"/>
              <a:t>Os </a:t>
            </a:r>
            <a:r>
              <a:rPr lang="pt-BR" b="1" dirty="0"/>
              <a:t>Serviços de Aplicação</a:t>
            </a:r>
            <a:r>
              <a:rPr lang="pt-BR" dirty="0"/>
              <a:t>, vão orquestrar os diferentes </a:t>
            </a:r>
            <a:r>
              <a:rPr lang="pt-BR" b="1" dirty="0"/>
              <a:t>Serviços de Conetividade </a:t>
            </a:r>
            <a:r>
              <a:rPr lang="pt-BR" dirty="0"/>
              <a:t>das diversas aplicações, mas dum mesmo domínio, para expor uma única </a:t>
            </a:r>
            <a:r>
              <a:rPr lang="pt-BR" b="1" dirty="0"/>
              <a:t>entidade do modelo canônico </a:t>
            </a:r>
            <a:r>
              <a:rPr lang="pt-BR" dirty="0"/>
              <a:t>e as diversas operações (S)CRUD para manipular essa entidade;</a:t>
            </a:r>
          </a:p>
          <a:p>
            <a:pPr>
              <a:spcBef>
                <a:spcPts val="0"/>
              </a:spcBef>
            </a:pPr>
            <a:endParaRPr lang="pt-BR" dirty="0" smtClean="0"/>
          </a:p>
          <a:p>
            <a:pPr>
              <a:spcBef>
                <a:spcPts val="0"/>
              </a:spcBef>
            </a:pPr>
            <a:r>
              <a:rPr lang="pt-BR" dirty="0" smtClean="0"/>
              <a:t>Os </a:t>
            </a:r>
            <a:r>
              <a:rPr lang="pt-BR" b="1" dirty="0"/>
              <a:t>Serviços de </a:t>
            </a:r>
            <a:r>
              <a:rPr lang="pt-BR" b="1" dirty="0" smtClean="0"/>
              <a:t>Conetividade, </a:t>
            </a:r>
            <a:r>
              <a:rPr lang="pt-BR" dirty="0"/>
              <a:t>tem a responsabilidade de “encapsular” </a:t>
            </a:r>
            <a:r>
              <a:rPr lang="pt-BR" u="sng" dirty="0"/>
              <a:t>uma</a:t>
            </a:r>
            <a:r>
              <a:rPr lang="pt-BR" dirty="0"/>
              <a:t> só API duma </a:t>
            </a:r>
            <a:r>
              <a:rPr lang="pt-BR" dirty="0" smtClean="0"/>
              <a:t>“aplicação” </a:t>
            </a:r>
            <a:r>
              <a:rPr lang="pt-BR" dirty="0"/>
              <a:t>no mesmo domínio, harmonizar as </a:t>
            </a:r>
            <a:r>
              <a:rPr lang="pt-BR" b="1" dirty="0"/>
              <a:t>diferenças técnicas</a:t>
            </a:r>
            <a:r>
              <a:rPr lang="pt-BR" dirty="0"/>
              <a:t>, tais como protocolos de transporte entre a aplicação e a arquitetura mas também fazer a harmonização das </a:t>
            </a:r>
            <a:r>
              <a:rPr lang="pt-BR" b="1" dirty="0"/>
              <a:t>diferenças semânticas e sintáticas </a:t>
            </a:r>
            <a:r>
              <a:rPr lang="pt-BR" dirty="0"/>
              <a:t>entre o modelo canônico e o modelo interno de dados de cada API da aplicação;</a:t>
            </a:r>
            <a:endParaRPr lang="en-GB" dirty="0"/>
          </a:p>
          <a:p>
            <a:pPr>
              <a:spcBef>
                <a:spcPts val="0"/>
              </a:spcBef>
            </a:pPr>
            <a:endParaRPr lang="pt-BR" sz="800" dirty="0" smtClean="0"/>
          </a:p>
          <a:p>
            <a:pPr>
              <a:spcBef>
                <a:spcPts val="0"/>
              </a:spcBef>
            </a:pPr>
            <a:endParaRPr lang="pt-BR" sz="800" dirty="0"/>
          </a:p>
          <a:p>
            <a:pPr>
              <a:spcBef>
                <a:spcPts val="0"/>
              </a:spcBef>
            </a:pPr>
            <a:r>
              <a:rPr lang="pt-BR" dirty="0" smtClean="0"/>
              <a:t>As </a:t>
            </a:r>
            <a:r>
              <a:rPr lang="pt-BR" b="1" dirty="0" smtClean="0"/>
              <a:t>diferenças de SLA</a:t>
            </a:r>
            <a:r>
              <a:rPr lang="pt-BR" dirty="0" smtClean="0"/>
              <a:t>, são as mais difíceis de harmonizar, mas os serviços de aplicação vão expor um </a:t>
            </a:r>
            <a:r>
              <a:rPr lang="pt-BR" b="1" dirty="0" smtClean="0"/>
              <a:t>SLA único e uniforme </a:t>
            </a:r>
            <a:r>
              <a:rPr lang="pt-BR" dirty="0" smtClean="0"/>
              <a:t>para cada entidade;</a:t>
            </a:r>
            <a:endParaRPr lang="pt-BR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419622"/>
            <a:ext cx="2304256" cy="3068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0543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41</a:t>
            </a:fld>
            <a:endParaRPr lang="pt-BR" dirty="0"/>
          </a:p>
        </p:txBody>
      </p:sp>
      <p:sp>
        <p:nvSpPr>
          <p:cNvPr id="7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131840" y="1131590"/>
            <a:ext cx="5688632" cy="830997"/>
          </a:xfrm>
        </p:spPr>
        <p:txBody>
          <a:bodyPr/>
          <a:lstStyle/>
          <a:p>
            <a:r>
              <a:rPr lang="pt-BR" sz="1600" dirty="0" smtClean="0"/>
              <a:t>A implementação na </a:t>
            </a:r>
            <a:r>
              <a:rPr lang="pt-BR" sz="1600" b="1" dirty="0" smtClean="0"/>
              <a:t>Camada de Aplicação</a:t>
            </a:r>
            <a:r>
              <a:rPr lang="pt-BR" sz="1600" dirty="0" smtClean="0"/>
              <a:t> deste </a:t>
            </a:r>
            <a:r>
              <a:rPr lang="pt-BR" sz="1600" u="sng" dirty="0" smtClean="0"/>
              <a:t>padrão de integração</a:t>
            </a:r>
            <a:r>
              <a:rPr lang="pt-BR" sz="1600" dirty="0" smtClean="0"/>
              <a:t> traz benefícios em termos de organização dos serviços.</a:t>
            </a:r>
            <a:endParaRPr lang="pt-BR" sz="1600" dirty="0"/>
          </a:p>
        </p:txBody>
      </p:sp>
      <p:sp>
        <p:nvSpPr>
          <p:cNvPr id="8" name="Espaço Reservado para Conteúdo 3"/>
          <p:cNvSpPr txBox="1">
            <a:spLocks/>
          </p:cNvSpPr>
          <p:nvPr/>
        </p:nvSpPr>
        <p:spPr>
          <a:xfrm>
            <a:off x="3131840" y="2075239"/>
            <a:ext cx="583264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pt-BR" dirty="0" smtClean="0"/>
              <a:t>Apesar dos Serviços de </a:t>
            </a:r>
            <a:r>
              <a:rPr lang="pt-BR" b="1" dirty="0" smtClean="0"/>
              <a:t>Negócio</a:t>
            </a:r>
            <a:r>
              <a:rPr lang="pt-BR" dirty="0" smtClean="0"/>
              <a:t> e </a:t>
            </a:r>
            <a:r>
              <a:rPr lang="pt-BR" b="1" dirty="0" smtClean="0"/>
              <a:t>Orquestração</a:t>
            </a:r>
            <a:r>
              <a:rPr lang="pt-BR" dirty="0" smtClean="0"/>
              <a:t> usarem mensagens baseados em entidade canônica estas poderão ser mais </a:t>
            </a:r>
            <a:r>
              <a:rPr lang="pt-BR" b="1" dirty="0" smtClean="0"/>
              <a:t>agregadores </a:t>
            </a:r>
            <a:r>
              <a:rPr lang="pt-BR" dirty="0" smtClean="0"/>
              <a:t>(Cliente + Contato), utilizando mais de uma entidade para tornar mais </a:t>
            </a:r>
            <a:r>
              <a:rPr lang="pt-BR" b="1" dirty="0" smtClean="0"/>
              <a:t>flexível</a:t>
            </a:r>
            <a:r>
              <a:rPr lang="pt-BR" dirty="0" smtClean="0"/>
              <a:t> as camadas superiores para a implementação de </a:t>
            </a:r>
            <a:r>
              <a:rPr lang="pt-BR" b="1" dirty="0" smtClean="0"/>
              <a:t>operações de negócio</a:t>
            </a:r>
            <a:r>
              <a:rPr lang="pt-BR" dirty="0" smtClean="0"/>
              <a:t>, mais próximas do processos de negócio. </a:t>
            </a:r>
          </a:p>
          <a:p>
            <a:pPr>
              <a:spcBef>
                <a:spcPts val="0"/>
              </a:spcBef>
            </a:pPr>
            <a:endParaRPr lang="pt-BR" sz="800" dirty="0"/>
          </a:p>
          <a:p>
            <a:pPr>
              <a:spcBef>
                <a:spcPts val="0"/>
              </a:spcBef>
            </a:pPr>
            <a:r>
              <a:rPr lang="pt-BR" dirty="0" smtClean="0"/>
              <a:t>Implementando os Serviços de Aplicação mais orientadas às </a:t>
            </a:r>
            <a:r>
              <a:rPr lang="pt-BR" b="1" dirty="0" smtClean="0"/>
              <a:t>Entidades de Negócio</a:t>
            </a:r>
            <a:r>
              <a:rPr lang="pt-BR" dirty="0" smtClean="0"/>
              <a:t>, estas tornam-se excelentes candidatos para </a:t>
            </a:r>
            <a:r>
              <a:rPr lang="pt-BR" b="1" dirty="0" smtClean="0"/>
              <a:t>implementações REST</a:t>
            </a:r>
            <a:r>
              <a:rPr lang="pt-BR" dirty="0" smtClean="0"/>
              <a:t>.</a:t>
            </a:r>
          </a:p>
          <a:p>
            <a:pPr>
              <a:spcBef>
                <a:spcPts val="0"/>
              </a:spcBef>
            </a:pPr>
            <a:endParaRPr lang="en-GB" b="1" dirty="0" smtClean="0"/>
          </a:p>
          <a:p>
            <a:pPr>
              <a:spcBef>
                <a:spcPts val="0"/>
              </a:spcBef>
            </a:pPr>
            <a:r>
              <a:rPr lang="pt-BR" b="1" dirty="0" smtClean="0"/>
              <a:t>Centraliza-se</a:t>
            </a:r>
            <a:r>
              <a:rPr lang="pt-BR" dirty="0" smtClean="0"/>
              <a:t> nesta camada todos os serviços que necessitam </a:t>
            </a:r>
            <a:r>
              <a:rPr lang="pt-BR" b="1" dirty="0" smtClean="0"/>
              <a:t>transformação de/para </a:t>
            </a:r>
            <a:r>
              <a:rPr lang="pt-BR" dirty="0" smtClean="0"/>
              <a:t>o</a:t>
            </a:r>
            <a:r>
              <a:rPr lang="pt-BR" b="1" dirty="0" smtClean="0"/>
              <a:t> modelo canônico de dados </a:t>
            </a:r>
            <a:r>
              <a:rPr lang="pt-BR" dirty="0" smtClean="0"/>
              <a:t>permitindo que múltiplas aplicações, via serviços, consumam estas entidades.</a:t>
            </a:r>
            <a:endParaRPr lang="en-GB" dirty="0"/>
          </a:p>
        </p:txBody>
      </p:sp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Barramento </a:t>
            </a:r>
            <a:r>
              <a:rPr lang="pt-BR" b="0" i="1" dirty="0"/>
              <a:t>Corporativo </a:t>
            </a:r>
            <a:r>
              <a:rPr lang="pt-BR" b="0" i="1" dirty="0" smtClean="0"/>
              <a:t>de Serviços “Aplicacionais”</a:t>
            </a:r>
            <a:endParaRPr lang="pt-BR" b="0" i="1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419622"/>
            <a:ext cx="2304256" cy="3068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21975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42</a:t>
            </a:fld>
            <a:endParaRPr lang="pt-BR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843808" y="1275606"/>
            <a:ext cx="5904656" cy="3439403"/>
          </a:xfrm>
        </p:spPr>
        <p:txBody>
          <a:bodyPr/>
          <a:lstStyle/>
          <a:p>
            <a:pPr algn="just" eaLnBrk="0" hangingPunct="0">
              <a:spcBef>
                <a:spcPts val="336"/>
              </a:spcBef>
            </a:pPr>
            <a:r>
              <a:rPr lang="pt-PT" dirty="0" smtClean="0">
                <a:latin typeface="Arial" pitchFamily="34" charset="0"/>
                <a:cs typeface="Arial" pitchFamily="34" charset="0"/>
              </a:rPr>
              <a:t>Para garantir uma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gestão mais adequada 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na identificação e desenvolvimento de serviços na Oi, consumidores e provedores de serviços irão interagir com 3 áreas (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Modelo Canônico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Dados de  Referência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, e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Integração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).</a:t>
            </a: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BR" dirty="0" smtClean="0"/>
              <a:t>O </a:t>
            </a:r>
            <a:r>
              <a:rPr lang="pt-BR" b="1" dirty="0" smtClean="0"/>
              <a:t>Modelo Canônico </a:t>
            </a:r>
            <a:r>
              <a:rPr lang="pt-BR" dirty="0"/>
              <a:t>servirá de </a:t>
            </a:r>
            <a:r>
              <a:rPr lang="pt-BR" b="1" dirty="0"/>
              <a:t>vocabulário comum </a:t>
            </a:r>
            <a:r>
              <a:rPr lang="pt-BR" dirty="0"/>
              <a:t>entre</a:t>
            </a:r>
            <a:r>
              <a:rPr lang="pt-PT" dirty="0">
                <a:latin typeface="Myriad Pro" pitchFamily="34" charset="0"/>
              </a:rPr>
              <a:t> todos os sistemas e/ou aplicações que tenham de passar informação relevante através do </a:t>
            </a:r>
            <a:r>
              <a:rPr lang="pt-PT" dirty="0" smtClean="0">
                <a:latin typeface="Myriad Pro" pitchFamily="34" charset="0"/>
              </a:rPr>
              <a:t>Barramento. </a:t>
            </a: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PT" dirty="0" smtClean="0">
                <a:latin typeface="Myriad Pro" pitchFamily="34" charset="0"/>
              </a:rPr>
              <a:t>Alguns dos atributos das entidades de negócio que irão transitar no Barramento serão identifcados como </a:t>
            </a:r>
            <a:r>
              <a:rPr lang="pt-PT" b="1" dirty="0" smtClean="0">
                <a:latin typeface="Myriad Pro" pitchFamily="34" charset="0"/>
              </a:rPr>
              <a:t>Dados de Referência</a:t>
            </a:r>
            <a:r>
              <a:rPr lang="pt-PT" dirty="0" smtClean="0">
                <a:latin typeface="Myriad Pro" pitchFamily="34" charset="0"/>
              </a:rPr>
              <a:t>. Estes serão geridos independentemente e caberá a uma equipa dedicada a </a:t>
            </a:r>
            <a:r>
              <a:rPr lang="pt-PT" b="1" dirty="0" smtClean="0">
                <a:latin typeface="Myriad Pro" pitchFamily="34" charset="0"/>
              </a:rPr>
              <a:t>identificação e manutenção destes dados </a:t>
            </a:r>
            <a:r>
              <a:rPr lang="pt-PT" dirty="0" smtClean="0">
                <a:latin typeface="Myriad Pro" pitchFamily="34" charset="0"/>
              </a:rPr>
              <a:t>e do seu </a:t>
            </a:r>
            <a:r>
              <a:rPr lang="pt-PT" b="1" dirty="0" smtClean="0">
                <a:latin typeface="Myriad Pro" pitchFamily="34" charset="0"/>
              </a:rPr>
              <a:t>mapeamento</a:t>
            </a:r>
            <a:r>
              <a:rPr lang="pt-PT" dirty="0" smtClean="0">
                <a:latin typeface="Myriad Pro" pitchFamily="34" charset="0"/>
              </a:rPr>
              <a:t> entre os diversos sistemas e/ou aplicações.</a:t>
            </a: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BR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Integração, 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através da nova Arquitetura de Serviços irá depois disponibilizar aos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consumidores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, através de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serviços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, funcionalidades e dados dos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provedores.</a:t>
            </a:r>
            <a:endParaRPr lang="pt-PT" b="1" dirty="0" smtClean="0">
              <a:latin typeface="Myriad Pro" pitchFamily="34" charset="0"/>
            </a:endParaRPr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088" y="1275606"/>
            <a:ext cx="2238704" cy="3528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Arquitetura de Serviços (SOA)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Governança de Dados na Integraçã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8935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0464" y="1203598"/>
            <a:ext cx="47896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eaLnBrk="0" hangingPunct="0"/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nônico </a:t>
            </a:r>
            <a:r>
              <a:rPr lang="pt-PT" altLang="pt-PT" sz="12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dj</a:t>
            </a:r>
            <a:r>
              <a:rPr lang="pt-PT" altLang="pt-PT" sz="1200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pt-PT" altLang="pt-PT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0" lvl="1" algn="just" eaLnBrk="0" hangingPunct="0"/>
            <a:r>
              <a:rPr lang="pt-PT" altLang="pt-PT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Que </a:t>
            </a:r>
            <a:r>
              <a:rPr lang="pt-PT" altLang="pt-PT" sz="14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stá de acordo </a:t>
            </a:r>
            <a:r>
              <a:rPr lang="pt-PT" altLang="pt-PT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m </a:t>
            </a:r>
            <a:r>
              <a:rPr lang="pt-PT" altLang="pt-PT" sz="14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s normas estabelecidas ou </a:t>
            </a:r>
            <a:r>
              <a:rPr lang="pt-PT" altLang="pt-PT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vencionadas; Normativo</a:t>
            </a:r>
            <a:r>
              <a:rPr lang="pt-PT" altLang="pt-PT" sz="14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; que estabelece </a:t>
            </a:r>
            <a:r>
              <a:rPr lang="pt-PT" altLang="pt-PT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gras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57104" y="2125181"/>
            <a:ext cx="440292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eaLnBrk="0" hangingPunct="0"/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m </a:t>
            </a:r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elo Canônico de Dados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constitui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ssim um </a:t>
            </a:r>
            <a:r>
              <a:rPr lang="pt-PT" altLang="pt-PT" sz="1400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elo lógico de informação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metadados) representando as </a:t>
            </a:r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ntidades de negócio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 interesse para uma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ganização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bem como os atributos que as caracterizam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lvl="1" eaLnBrk="0" hangingPunct="0"/>
            <a:endParaRPr lang="pt-PT" altLang="pt-PT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0" lvl="1" eaLnBrk="0" hangingPunct="0"/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presentará o </a:t>
            </a:r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ocabulário comum </a:t>
            </a:r>
            <a:r>
              <a:rPr lang="pt-PT" altLang="pt-PT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pt-PT" altLang="pt-PT" sz="1400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ngua Franca</a:t>
            </a:r>
            <a:r>
              <a:rPr lang="pt-PT" altLang="pt-PT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tilizado por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plicações e/ou sistemas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que tenham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 passar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ntre elas informação relevante, através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a </a:t>
            </a:r>
            <a:r>
              <a:rPr lang="pt-PT" altLang="pt-PT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tegração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para a execução de processos de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egócio.</a:t>
            </a:r>
            <a:endParaRPr lang="pt-PT" altLang="pt-PT" sz="1400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 descr="http://www.ibm.com/developerworks/rational/library/content/03July/2000/2428/2428_fig7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088" y="1131590"/>
            <a:ext cx="3504339" cy="3383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4"/>
          <p:cNvSpPr txBox="1"/>
          <p:nvPr/>
        </p:nvSpPr>
        <p:spPr>
          <a:xfrm>
            <a:off x="5868144" y="4660562"/>
            <a:ext cx="275588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 smtClean="0"/>
              <a:t>Fonte: IBM, “</a:t>
            </a:r>
            <a:r>
              <a:rPr lang="pt-BR" sz="800" dirty="0" err="1" smtClean="0"/>
              <a:t>Modeling</a:t>
            </a:r>
            <a:r>
              <a:rPr lang="pt-BR" sz="800" dirty="0" smtClean="0"/>
              <a:t> </a:t>
            </a:r>
            <a:r>
              <a:rPr lang="pt-BR" sz="800" dirty="0" err="1" smtClean="0"/>
              <a:t>the</a:t>
            </a:r>
            <a:r>
              <a:rPr lang="pt-BR" sz="800" dirty="0" smtClean="0"/>
              <a:t> </a:t>
            </a:r>
            <a:r>
              <a:rPr lang="pt-BR" sz="800" dirty="0" err="1" smtClean="0"/>
              <a:t>enterprise</a:t>
            </a:r>
            <a:r>
              <a:rPr lang="pt-BR" sz="800" dirty="0" smtClean="0"/>
              <a:t> data </a:t>
            </a:r>
            <a:r>
              <a:rPr lang="pt-BR" sz="800" dirty="0" err="1" smtClean="0"/>
              <a:t>arquiteture</a:t>
            </a:r>
            <a:r>
              <a:rPr lang="pt-BR" sz="800" dirty="0" smtClean="0"/>
              <a:t>”, 2003</a:t>
            </a:r>
            <a:endParaRPr lang="pt-BR" sz="800" dirty="0"/>
          </a:p>
        </p:txBody>
      </p:sp>
      <p:sp>
        <p:nvSpPr>
          <p:cNvPr id="9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43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/>
              <a:t>Arquitetura de Serviços (SOA)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Conceito do Modelo Canônico (Modelo Corporativo de Dados)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07188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432000" y="1131590"/>
            <a:ext cx="824445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 </a:t>
            </a: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delo Canônico de Dados 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é </a:t>
            </a:r>
            <a:r>
              <a:rPr lang="pt-BR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ão o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delo lógico de informação corporativa </a:t>
            </a:r>
            <a:r>
              <a:rPr kumimoji="0" lang="pt-BR" sz="14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 Oi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simplificado e suficientemente genérico para representar, numa linguagem comum, as entidades de negócio, bem como os atributos que as caracterizam e como se relacionam entre si</a:t>
            </a:r>
            <a:r>
              <a:rPr kumimoji="0" lang="pt-BR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e com os sistemas e/ou aplicações fontes desses dados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Espaço Reservado para Conteúdo 3"/>
          <p:cNvSpPr txBox="1">
            <a:spLocks/>
          </p:cNvSpPr>
          <p:nvPr/>
        </p:nvSpPr>
        <p:spPr>
          <a:xfrm>
            <a:off x="2483768" y="2141092"/>
            <a:ext cx="6192688" cy="2806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fine o dicionário 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kumimoji="0" lang="pt-P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ceitos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mântica, i.e. significado) da organização e identifica as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tidades de negócio 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cliente, ordem, conta fatura, etc..), alinhado ao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ID*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MForum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kumimoji="0" lang="pt-PT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fine os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tributos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 cada entidade de negócio (atributos identificadores, base e extensão), 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dicando as respetivas </a:t>
            </a:r>
            <a:r>
              <a:rPr kumimoji="0" lang="pt-P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racterísticas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dentifica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ssociações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tre as diferentes entidades através de diagramas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pt-B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 e </a:t>
            </a:r>
            <a:r>
              <a:rPr lang="pt-BR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ciona as entidades </a:t>
            </a:r>
            <a:r>
              <a:rPr lang="pt-B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negócio corporativas com os </a:t>
            </a:r>
            <a:r>
              <a:rPr lang="pt-BR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temas e/ou aplicações que as implementam</a:t>
            </a:r>
            <a:r>
              <a:rPr lang="pt-B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kumimoji="0" lang="pt-BR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fine a </a:t>
            </a: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presentação técnica 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s entidades (i.e. 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intaxe – tipo, formato, tamanho, etc.. ) e identifica os atributos com valores fechados, que definimos como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dos referência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kumimoji="0" lang="pt-BR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285" y="2251457"/>
            <a:ext cx="1803467" cy="2696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/>
              <a:t>Arquitetura de Serviços (SOA)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Modelo Canônico na Oi</a:t>
            </a:r>
            <a:endParaRPr lang="pt-BR" dirty="0"/>
          </a:p>
        </p:txBody>
      </p:sp>
      <p:sp>
        <p:nvSpPr>
          <p:cNvPr id="12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44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21641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3923928" y="1193140"/>
            <a:ext cx="4752528" cy="3539430"/>
          </a:xfrm>
          <a:prstGeom prst="rect">
            <a:avLst/>
          </a:prstGeom>
        </p:spPr>
        <p:txBody>
          <a:bodyPr wrap="square" anchor="t" anchorCtr="0">
            <a:spAutoFit/>
          </a:bodyPr>
          <a:lstStyle/>
          <a:p>
            <a:pPr marL="0" lvl="1" eaLnBrk="0" hangingPunct="0"/>
            <a:r>
              <a:rPr lang="pt-BR" sz="1400" dirty="0" smtClean="0">
                <a:latin typeface="Arial" pitchFamily="34" charset="0"/>
                <a:cs typeface="Arial" pitchFamily="34" charset="0"/>
              </a:rPr>
              <a:t>O </a:t>
            </a:r>
            <a:r>
              <a:rPr lang="pt-BR" sz="1400" b="1" dirty="0" smtClean="0">
                <a:latin typeface="Arial" pitchFamily="34" charset="0"/>
                <a:cs typeface="Arial" pitchFamily="34" charset="0"/>
              </a:rPr>
              <a:t>Modelo Canônico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será instanciado em </a:t>
            </a:r>
            <a:r>
              <a:rPr lang="pt-BR" sz="1400" b="1" dirty="0" smtClean="0">
                <a:latin typeface="Arial" pitchFamily="34" charset="0"/>
                <a:cs typeface="Arial" pitchFamily="34" charset="0"/>
              </a:rPr>
              <a:t>modelos de dados de integração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, que servirão de  </a:t>
            </a:r>
            <a:r>
              <a:rPr lang="pt-BR" sz="1400" b="1" i="1" dirty="0" smtClean="0">
                <a:latin typeface="Arial" pitchFamily="34" charset="0"/>
                <a:cs typeface="Arial" pitchFamily="34" charset="0"/>
              </a:rPr>
              <a:t>contrato de integração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entre sistemas e/ou aplicações, relativamente a um </a:t>
            </a:r>
            <a:r>
              <a:rPr lang="pt-BR" sz="1400" u="sng" dirty="0" err="1" smtClean="0">
                <a:latin typeface="Arial" pitchFamily="34" charset="0"/>
                <a:cs typeface="Arial" pitchFamily="34" charset="0"/>
              </a:rPr>
              <a:t>sub-conjunto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 da informação existente no Modelo Canônico.</a:t>
            </a:r>
          </a:p>
          <a:p>
            <a:pPr marL="0" lvl="1" eaLnBrk="0" hangingPunct="0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marL="0" lvl="1" eaLnBrk="0" hangingPunct="0"/>
            <a:r>
              <a:rPr lang="pt-BR" sz="1400" dirty="0" smtClean="0">
                <a:latin typeface="Arial" pitchFamily="34" charset="0"/>
                <a:cs typeface="Arial" pitchFamily="34" charset="0"/>
              </a:rPr>
              <a:t>Será a </a:t>
            </a:r>
            <a:r>
              <a:rPr lang="pt-BR" sz="1400" b="1" dirty="0" smtClean="0">
                <a:latin typeface="Arial" pitchFamily="34" charset="0"/>
                <a:cs typeface="Arial" pitchFamily="34" charset="0"/>
              </a:rPr>
              <a:t>instanciação técnica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deste modelo que será </a:t>
            </a:r>
            <a:r>
              <a:rPr lang="pt-BR" sz="1400" i="1" dirty="0" smtClean="0">
                <a:latin typeface="Arial" pitchFamily="34" charset="0"/>
                <a:cs typeface="Arial" pitchFamily="34" charset="0"/>
              </a:rPr>
              <a:t>usado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 e </a:t>
            </a:r>
            <a:r>
              <a:rPr lang="pt-BR" sz="1400" i="1" dirty="0" smtClean="0">
                <a:latin typeface="Arial" pitchFamily="34" charset="0"/>
                <a:cs typeface="Arial" pitchFamily="34" charset="0"/>
              </a:rPr>
              <a:t>exposto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 pelas plataformas de integração para fazer circular informações entre os diversos sistemas e/ou aplicações. </a:t>
            </a:r>
          </a:p>
          <a:p>
            <a:pPr marL="0" lvl="1" eaLnBrk="0" hangingPunct="0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marL="0" lvl="1" eaLnBrk="0" hangingPunct="0"/>
            <a:r>
              <a:rPr lang="pt-BR" sz="1400" dirty="0">
                <a:latin typeface="Arial" pitchFamily="34" charset="0"/>
                <a:cs typeface="Arial" pitchFamily="34" charset="0"/>
              </a:rPr>
              <a:t>O uso dum </a:t>
            </a:r>
            <a:r>
              <a:rPr lang="pt-BR" sz="1400" b="1" dirty="0">
                <a:latin typeface="Arial" pitchFamily="34" charset="0"/>
                <a:cs typeface="Arial" pitchFamily="34" charset="0"/>
              </a:rPr>
              <a:t>modelo canônico de integração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, independente dos modelos dos sistemas, </a:t>
            </a:r>
            <a:r>
              <a:rPr lang="pt-PT" sz="1400" b="1" dirty="0">
                <a:latin typeface="Arial" pitchFamily="34" charset="0"/>
                <a:cs typeface="Arial" pitchFamily="34" charset="0"/>
              </a:rPr>
              <a:t>f</a:t>
            </a:r>
            <a:r>
              <a:rPr lang="pt-PT" altLang="pt-PT" sz="1400" b="1" dirty="0">
                <a:latin typeface="Arial" pitchFamily="34" charset="0"/>
                <a:cs typeface="Arial" pitchFamily="34" charset="0"/>
              </a:rPr>
              <a:t>acilita</a:t>
            </a:r>
            <a:r>
              <a:rPr lang="pt-PT" altLang="pt-PT" sz="1400" dirty="0">
                <a:latin typeface="Arial" pitchFamily="34" charset="0"/>
                <a:cs typeface="Arial" pitchFamily="34" charset="0"/>
              </a:rPr>
              <a:t> e </a:t>
            </a:r>
            <a:r>
              <a:rPr lang="pt-PT" altLang="pt-PT" sz="1400" b="1" dirty="0">
                <a:latin typeface="Arial" pitchFamily="34" charset="0"/>
                <a:cs typeface="Arial" pitchFamily="34" charset="0"/>
              </a:rPr>
              <a:t>simplifica</a:t>
            </a:r>
            <a:r>
              <a:rPr lang="pt-PT" altLang="pt-PT" sz="1400" dirty="0">
                <a:latin typeface="Arial" pitchFamily="34" charset="0"/>
                <a:cs typeface="Arial" pitchFamily="34" charset="0"/>
              </a:rPr>
              <a:t> a integração aplicacional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,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p</a:t>
            </a:r>
            <a:r>
              <a:rPr lang="pt-BR" altLang="pt-PT" sz="1400" dirty="0" smtClean="0">
                <a:latin typeface="Arial" pitchFamily="34" charset="0"/>
                <a:cs typeface="Arial" pitchFamily="34" charset="0"/>
              </a:rPr>
              <a:t>ermitindo </a:t>
            </a:r>
            <a:r>
              <a:rPr lang="pt-BR" altLang="pt-PT" sz="1400" dirty="0">
                <a:latin typeface="Arial" pitchFamily="34" charset="0"/>
                <a:cs typeface="Arial" pitchFamily="34" charset="0"/>
              </a:rPr>
              <a:t>que </a:t>
            </a:r>
            <a:r>
              <a:rPr lang="pt-BR" altLang="pt-PT" sz="1400" dirty="0" smtClean="0">
                <a:latin typeface="Arial" pitchFamily="34" charset="0"/>
                <a:cs typeface="Arial" pitchFamily="34" charset="0"/>
              </a:rPr>
              <a:t>analistas de sistemas e </a:t>
            </a:r>
            <a:r>
              <a:rPr lang="pt-BR" altLang="pt-PT" sz="1400" dirty="0">
                <a:latin typeface="Arial" pitchFamily="34" charset="0"/>
                <a:cs typeface="Arial" pitchFamily="34" charset="0"/>
              </a:rPr>
              <a:t>usuários de negócios </a:t>
            </a:r>
            <a:r>
              <a:rPr lang="pt-BR" altLang="pt-PT" sz="1400" dirty="0" smtClean="0">
                <a:latin typeface="Arial" pitchFamily="34" charset="0"/>
                <a:cs typeface="Arial" pitchFamily="34" charset="0"/>
              </a:rPr>
              <a:t>discutam </a:t>
            </a:r>
            <a:r>
              <a:rPr lang="pt-BR" altLang="pt-PT" sz="1400" dirty="0">
                <a:latin typeface="Arial" pitchFamily="34" charset="0"/>
                <a:cs typeface="Arial" pitchFamily="34" charset="0"/>
              </a:rPr>
              <a:t>a solução de integração em termos </a:t>
            </a:r>
            <a:r>
              <a:rPr lang="pt-BR" altLang="pt-PT" sz="1400" dirty="0" smtClean="0">
                <a:latin typeface="Arial" pitchFamily="34" charset="0"/>
                <a:cs typeface="Arial" pitchFamily="34" charset="0"/>
              </a:rPr>
              <a:t>corporativos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.</a:t>
            </a:r>
            <a:endParaRPr lang="en-GB" sz="1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256" y="1396355"/>
            <a:ext cx="3166640" cy="3119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/>
              <a:t>Arquitetura de Serviços (SOA)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Para que serve o Modelo Canônico em Integração</a:t>
            </a:r>
            <a:endParaRPr lang="pt-BR" dirty="0"/>
          </a:p>
        </p:txBody>
      </p:sp>
      <p:sp>
        <p:nvSpPr>
          <p:cNvPr id="9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45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5113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2547" y="1131590"/>
            <a:ext cx="7667845" cy="588216"/>
          </a:xfrm>
          <a:prstGeom prst="roundRect">
            <a:avLst>
              <a:gd name="adj" fmla="val 7329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4513" indent="-188913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ClrTx/>
              <a:buNone/>
            </a:pPr>
            <a:r>
              <a:rPr lang="pt-BR" dirty="0"/>
              <a:t>A </a:t>
            </a:r>
            <a:r>
              <a:rPr lang="pt-BR" b="1" dirty="0"/>
              <a:t>governança dos dados </a:t>
            </a:r>
            <a:r>
              <a:rPr lang="pt-BR" dirty="0"/>
              <a:t>que trafegam na Arquitetura de Serviços é </a:t>
            </a:r>
            <a:r>
              <a:rPr lang="pt-BR" dirty="0" smtClean="0"/>
              <a:t>uma necessidade importante </a:t>
            </a:r>
            <a:r>
              <a:rPr lang="pt-BR" dirty="0"/>
              <a:t>para a Arquitetura de </a:t>
            </a:r>
            <a:r>
              <a:rPr lang="pt-BR" dirty="0" smtClean="0"/>
              <a:t>Serviços</a:t>
            </a:r>
            <a:r>
              <a:rPr lang="pt-PT" dirty="0" smtClean="0">
                <a:solidFill>
                  <a:srgbClr val="000000"/>
                </a:solidFill>
              </a:rPr>
              <a:t>:</a:t>
            </a:r>
            <a:endParaRPr lang="pt-PT" altLang="pt-PT" dirty="0">
              <a:solidFill>
                <a:srgbClr val="000000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005104" y="1803570"/>
            <a:ext cx="4572704" cy="6057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BR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pt-B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ão Macro do Modelo Canônico </a:t>
            </a:r>
            <a:r>
              <a:rPr lang="pt-BR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uma visão de alto nível das entidades de negócio, </a:t>
            </a:r>
            <a:r>
              <a:rPr lang="pt-PT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eve </a:t>
            </a:r>
            <a:r>
              <a:rPr lang="pt-P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conceito e as suas associações.</a:t>
            </a:r>
          </a:p>
        </p:txBody>
      </p:sp>
      <p:pic>
        <p:nvPicPr>
          <p:cNvPr id="13" name="Picture 2" descr="http://www.ibm.com/developerworks/rational/library/content/03July/2000/2428/2428_fig7.jpg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923" y="1803577"/>
            <a:ext cx="2958160" cy="2856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Pentagon 33"/>
          <p:cNvSpPr/>
          <p:nvPr/>
        </p:nvSpPr>
        <p:spPr>
          <a:xfrm>
            <a:off x="512912" y="1815520"/>
            <a:ext cx="3383173" cy="1284194"/>
          </a:xfrm>
          <a:prstGeom prst="homePlate">
            <a:avLst>
              <a:gd name="adj" fmla="val 16097"/>
            </a:avLst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entagon 33"/>
          <p:cNvSpPr/>
          <p:nvPr/>
        </p:nvSpPr>
        <p:spPr>
          <a:xfrm>
            <a:off x="512912" y="3171722"/>
            <a:ext cx="3383173" cy="1488260"/>
          </a:xfrm>
          <a:prstGeom prst="homePlate">
            <a:avLst>
              <a:gd name="adj" fmla="val 14026"/>
            </a:avLst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34"/>
          <p:cNvSpPr/>
          <p:nvPr/>
        </p:nvSpPr>
        <p:spPr>
          <a:xfrm>
            <a:off x="4005104" y="3171722"/>
            <a:ext cx="4572704" cy="744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Os 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Modelos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de 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Integração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irão traduzir técnicamente 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a representação do modelo de dados canónico numa determinada plataforma ou mecanismo de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integração (Online e Batch).</a:t>
            </a:r>
          </a:p>
        </p:txBody>
      </p:sp>
      <p:sp>
        <p:nvSpPr>
          <p:cNvPr id="17" name="Rectangle 34"/>
          <p:cNvSpPr/>
          <p:nvPr/>
        </p:nvSpPr>
        <p:spPr>
          <a:xfrm>
            <a:off x="4005104" y="2451642"/>
            <a:ext cx="4572704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</a:t>
            </a:r>
            <a:r>
              <a:rPr lang="pt-BR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o Canônico </a:t>
            </a:r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 funcionalmente as entidades e os seus atributos, indicando as respetivas características e diferentes associações com os sistemas que as realizam.</a:t>
            </a:r>
            <a:endParaRPr lang="pt-PT" sz="1200" b="1" dirty="0">
              <a:latin typeface="Myriad Pro" pitchFamily="34" charset="0"/>
            </a:endParaRPr>
          </a:p>
        </p:txBody>
      </p:sp>
      <p:sp>
        <p:nvSpPr>
          <p:cNvPr id="18" name="Rectangle 34"/>
          <p:cNvSpPr/>
          <p:nvPr/>
        </p:nvSpPr>
        <p:spPr>
          <a:xfrm>
            <a:off x="4005104" y="3975760"/>
            <a:ext cx="4572704" cy="6842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As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Especificações de Serviço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ou/e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Interface 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identificam o mapeamento entre as diferentes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mensagens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 utilizadas pelos Interfaces de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Sistema utilizando o Modelo Canônico como base. </a:t>
            </a:r>
            <a:endParaRPr lang="pt-BR" sz="1200" dirty="0">
              <a:solidFill>
                <a:schemeClr val="tx1"/>
              </a:solidFill>
            </a:endParaRPr>
          </a:p>
        </p:txBody>
      </p:sp>
      <p:sp>
        <p:nvSpPr>
          <p:cNvPr id="19" name="Rectangle 2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>
            <a:off x="3090901" y="2363905"/>
            <a:ext cx="1080120" cy="187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7800" indent="317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2072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algn="ctr">
              <a:buNone/>
            </a:pPr>
            <a:r>
              <a:rPr lang="pt-BR" altLang="pt-PT" sz="1200" b="1" dirty="0" smtClean="0">
                <a:solidFill>
                  <a:srgbClr val="000000"/>
                </a:solidFill>
              </a:rPr>
              <a:t>Canônico</a:t>
            </a:r>
          </a:p>
        </p:txBody>
      </p:sp>
      <p:sp>
        <p:nvSpPr>
          <p:cNvPr id="20" name="Rectangle 2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>
            <a:off x="3119500" y="3762086"/>
            <a:ext cx="1080120" cy="187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7800" indent="317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2072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algn="ctr">
              <a:buNone/>
            </a:pPr>
            <a:r>
              <a:rPr lang="pt-BR" altLang="pt-PT" sz="1200" b="1" dirty="0" smtClean="0">
                <a:solidFill>
                  <a:srgbClr val="000000"/>
                </a:solidFill>
              </a:rPr>
              <a:t>Integração</a:t>
            </a:r>
          </a:p>
        </p:txBody>
      </p:sp>
      <p:sp>
        <p:nvSpPr>
          <p:cNvPr id="4" name="Seta para cima e para baixo 3"/>
          <p:cNvSpPr/>
          <p:nvPr/>
        </p:nvSpPr>
        <p:spPr>
          <a:xfrm>
            <a:off x="8577808" y="1767420"/>
            <a:ext cx="314672" cy="2844462"/>
          </a:xfrm>
          <a:prstGeom prst="up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 smtClean="0"/>
              <a:t>Arquitetura de Serviços (SOA)</a:t>
            </a:r>
            <a:br>
              <a:rPr lang="pt-BR" dirty="0" smtClean="0"/>
            </a:br>
            <a:r>
              <a:rPr lang="pt-BR" b="0" i="1" dirty="0"/>
              <a:t>Governança de Dados na Integração</a:t>
            </a:r>
          </a:p>
        </p:txBody>
      </p:sp>
      <p:sp>
        <p:nvSpPr>
          <p:cNvPr id="21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46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9283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 smtClean="0"/>
              <a:t>Arquitetura de Serviços (SOA)</a:t>
            </a:r>
            <a:br>
              <a:rPr lang="pt-BR" dirty="0" smtClean="0"/>
            </a:br>
            <a:r>
              <a:rPr lang="pt-BR" b="0" i="1" dirty="0" smtClean="0"/>
              <a:t>Governança de Reference Data</a:t>
            </a:r>
            <a:endParaRPr lang="pt-BR" b="0" i="1" dirty="0"/>
          </a:p>
        </p:txBody>
      </p:sp>
      <p:sp>
        <p:nvSpPr>
          <p:cNvPr id="14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47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5" name="Diagram 4"/>
          <p:cNvGraphicFramePr/>
          <p:nvPr>
            <p:extLst>
              <p:ext uri="{D42A27DB-BD31-4B8C-83A1-F6EECF244321}">
                <p14:modId xmlns:p14="http://schemas.microsoft.com/office/powerpoint/2010/main" val="1250718491"/>
              </p:ext>
            </p:extLst>
          </p:nvPr>
        </p:nvGraphicFramePr>
        <p:xfrm>
          <a:off x="3816424" y="1131590"/>
          <a:ext cx="4139952" cy="34378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6" name="TextBox 3"/>
          <p:cNvSpPr txBox="1"/>
          <p:nvPr/>
        </p:nvSpPr>
        <p:spPr>
          <a:xfrm>
            <a:off x="415773" y="1304754"/>
            <a:ext cx="4073737" cy="3453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pt-BR" sz="1400" b="1" dirty="0" smtClean="0">
                <a:latin typeface="Arial"/>
                <a:cs typeface="Arial"/>
              </a:rPr>
              <a:t>Dados de Referência</a:t>
            </a:r>
            <a:r>
              <a:rPr lang="pt-BR" sz="1400" dirty="0" smtClean="0">
                <a:latin typeface="Arial"/>
                <a:cs typeface="Arial"/>
              </a:rPr>
              <a:t>, ou </a:t>
            </a:r>
            <a:r>
              <a:rPr lang="pt-BR" sz="1400" i="1" dirty="0" smtClean="0">
                <a:latin typeface="Arial"/>
                <a:cs typeface="Arial"/>
              </a:rPr>
              <a:t>“Reference Data” </a:t>
            </a:r>
            <a:r>
              <a:rPr lang="pt-BR" sz="1400" dirty="0" smtClean="0">
                <a:latin typeface="Arial"/>
                <a:cs typeface="Arial"/>
              </a:rPr>
              <a:t>são dados que ajudam a </a:t>
            </a:r>
            <a:r>
              <a:rPr lang="pt-BR" sz="1400" b="1" dirty="0" smtClean="0">
                <a:latin typeface="Arial"/>
                <a:cs typeface="Arial"/>
              </a:rPr>
              <a:t>categorizar</a:t>
            </a:r>
            <a:r>
              <a:rPr lang="pt-BR" sz="1400" dirty="0" smtClean="0">
                <a:latin typeface="Arial"/>
                <a:cs typeface="Arial"/>
              </a:rPr>
              <a:t> outros dados ou </a:t>
            </a:r>
            <a:r>
              <a:rPr lang="pt-BR" sz="1400" b="1" dirty="0" smtClean="0">
                <a:latin typeface="Arial"/>
                <a:cs typeface="Arial"/>
              </a:rPr>
              <a:t>entidades de negócio </a:t>
            </a:r>
            <a:r>
              <a:rPr lang="pt-BR" sz="1400" dirty="0" smtClean="0">
                <a:latin typeface="Arial"/>
                <a:cs typeface="Arial"/>
              </a:rPr>
              <a:t>numa aplicação ou base de dados;</a:t>
            </a:r>
            <a:endParaRPr lang="pt-BR" sz="1400" dirty="0">
              <a:latin typeface="Arial"/>
              <a:cs typeface="Arial"/>
            </a:endParaRPr>
          </a:p>
          <a:p>
            <a:pPr marL="285750" indent="-285750">
              <a:lnSpc>
                <a:spcPct val="120000"/>
              </a:lnSpc>
              <a:buFont typeface="Arial" pitchFamily="34" charset="0"/>
              <a:buChar char="•"/>
            </a:pPr>
            <a:r>
              <a:rPr lang="pt-BR" sz="1400" dirty="0" smtClean="0">
                <a:latin typeface="Arial"/>
                <a:cs typeface="Arial"/>
              </a:rPr>
              <a:t>Podem também materializar regras de negócio;</a:t>
            </a:r>
          </a:p>
          <a:p>
            <a:pPr marL="285750" indent="-285750">
              <a:lnSpc>
                <a:spcPct val="120000"/>
              </a:lnSpc>
              <a:buFont typeface="Arial" pitchFamily="34" charset="0"/>
              <a:buChar char="•"/>
            </a:pPr>
            <a:r>
              <a:rPr lang="pt-BR" sz="1400" dirty="0">
                <a:latin typeface="Arial"/>
                <a:cs typeface="Arial"/>
              </a:rPr>
              <a:t>São o que chamamos normalmente por domínios, lista de valores ou tabelas de </a:t>
            </a:r>
            <a:r>
              <a:rPr lang="pt-BR" sz="1400" i="1" dirty="0">
                <a:latin typeface="Arial"/>
                <a:cs typeface="Arial"/>
              </a:rPr>
              <a:t>“</a:t>
            </a:r>
            <a:r>
              <a:rPr lang="pt-BR" sz="1400" i="1" dirty="0" err="1">
                <a:latin typeface="Arial"/>
                <a:cs typeface="Arial"/>
              </a:rPr>
              <a:t>lookup</a:t>
            </a:r>
            <a:r>
              <a:rPr lang="pt-BR" sz="1400" dirty="0">
                <a:latin typeface="Arial"/>
                <a:cs typeface="Arial"/>
              </a:rPr>
              <a:t>”;</a:t>
            </a:r>
          </a:p>
          <a:p>
            <a:pPr marL="285750" indent="-285750">
              <a:lnSpc>
                <a:spcPct val="120000"/>
              </a:lnSpc>
              <a:buFont typeface="Arial" pitchFamily="34" charset="0"/>
              <a:buChar char="•"/>
            </a:pPr>
            <a:r>
              <a:rPr lang="pt-BR" sz="1400" dirty="0" smtClean="0">
                <a:latin typeface="Arial"/>
                <a:cs typeface="Arial"/>
              </a:rPr>
              <a:t>Diferente de Dados </a:t>
            </a:r>
            <a:r>
              <a:rPr lang="pt-BR" sz="1400" b="1" dirty="0" smtClean="0">
                <a:latin typeface="Arial"/>
                <a:cs typeface="Arial"/>
              </a:rPr>
              <a:t>Transacionais</a:t>
            </a:r>
            <a:r>
              <a:rPr lang="pt-BR" sz="1400" dirty="0" smtClean="0">
                <a:latin typeface="Arial"/>
                <a:cs typeface="Arial"/>
              </a:rPr>
              <a:t> (que representam dados criados por transações numa aplicação) ou Dados </a:t>
            </a:r>
            <a:r>
              <a:rPr lang="pt-BR" sz="1400" b="1" dirty="0" smtClean="0">
                <a:latin typeface="Arial"/>
                <a:cs typeface="Arial"/>
              </a:rPr>
              <a:t>Mestre</a:t>
            </a:r>
            <a:r>
              <a:rPr lang="pt-BR" sz="1400" dirty="0" smtClean="0">
                <a:latin typeface="Arial"/>
                <a:cs typeface="Arial"/>
              </a:rPr>
              <a:t> (que representam as entidades de negócio )</a:t>
            </a:r>
            <a:endParaRPr lang="pt-BR" sz="1400" dirty="0">
              <a:latin typeface="Arial"/>
              <a:cs typeface="Arial"/>
            </a:endParaRPr>
          </a:p>
        </p:txBody>
      </p:sp>
      <p:cxnSp>
        <p:nvCxnSpPr>
          <p:cNvPr id="17" name="Straight Connector 2"/>
          <p:cNvCxnSpPr/>
          <p:nvPr/>
        </p:nvCxnSpPr>
        <p:spPr bwMode="auto">
          <a:xfrm>
            <a:off x="5351410" y="3796047"/>
            <a:ext cx="1460665" cy="0"/>
          </a:xfrm>
          <a:prstGeom prst="line">
            <a:avLst/>
          </a:prstGeom>
          <a:solidFill>
            <a:srgbClr val="00559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Rectangle 8"/>
          <p:cNvSpPr/>
          <p:nvPr/>
        </p:nvSpPr>
        <p:spPr>
          <a:xfrm>
            <a:off x="7812360" y="1606029"/>
            <a:ext cx="13316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Bilhete de Defeito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Ordem</a:t>
            </a:r>
            <a:r>
              <a:rPr kumimoji="0" lang="pt-BR" sz="1200" b="1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de Serviço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19" name="Straight Connector 13"/>
          <p:cNvCxnSpPr/>
          <p:nvPr/>
        </p:nvCxnSpPr>
        <p:spPr bwMode="auto">
          <a:xfrm flipH="1">
            <a:off x="7871832" y="1491630"/>
            <a:ext cx="1060644" cy="0"/>
          </a:xfrm>
          <a:prstGeom prst="line">
            <a:avLst/>
          </a:prstGeom>
          <a:solidFill>
            <a:srgbClr val="005595"/>
          </a:solidFill>
          <a:ln w="19050" cap="flat" cmpd="sng" algn="ctr">
            <a:solidFill>
              <a:srgbClr val="80828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26"/>
          <p:cNvCxnSpPr/>
          <p:nvPr/>
        </p:nvCxnSpPr>
        <p:spPr bwMode="auto">
          <a:xfrm flipH="1">
            <a:off x="7453124" y="2211710"/>
            <a:ext cx="1479352" cy="0"/>
          </a:xfrm>
          <a:prstGeom prst="line">
            <a:avLst/>
          </a:prstGeom>
          <a:solidFill>
            <a:srgbClr val="005595"/>
          </a:solidFill>
          <a:ln w="19050" cap="flat" cmpd="sng" algn="ctr">
            <a:solidFill>
              <a:srgbClr val="80828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8"/>
          <p:cNvCxnSpPr/>
          <p:nvPr/>
        </p:nvCxnSpPr>
        <p:spPr bwMode="auto">
          <a:xfrm flipH="1">
            <a:off x="7013959" y="2923010"/>
            <a:ext cx="1918517" cy="0"/>
          </a:xfrm>
          <a:prstGeom prst="line">
            <a:avLst/>
          </a:prstGeom>
          <a:solidFill>
            <a:srgbClr val="005595"/>
          </a:solidFill>
          <a:ln w="19050" cap="flat" cmpd="sng" algn="ctr">
            <a:solidFill>
              <a:srgbClr val="80828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30"/>
          <p:cNvCxnSpPr/>
          <p:nvPr/>
        </p:nvCxnSpPr>
        <p:spPr bwMode="auto">
          <a:xfrm flipH="1">
            <a:off x="6661594" y="3651870"/>
            <a:ext cx="2393289" cy="0"/>
          </a:xfrm>
          <a:prstGeom prst="line">
            <a:avLst/>
          </a:prstGeom>
          <a:solidFill>
            <a:srgbClr val="005595"/>
          </a:solidFill>
          <a:ln w="19050" cap="flat" cmpd="sng" algn="ctr">
            <a:solidFill>
              <a:srgbClr val="80828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Rectangle 8"/>
          <p:cNvSpPr/>
          <p:nvPr/>
        </p:nvSpPr>
        <p:spPr>
          <a:xfrm>
            <a:off x="6985580" y="3669119"/>
            <a:ext cx="15468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Status</a:t>
            </a:r>
            <a:r>
              <a:rPr kumimoji="0" lang="pt-BR" sz="1200" b="1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de Cliente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baseline="0" dirty="0" smtClean="0"/>
              <a:t>Tipo de Serviço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Centros de Custo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Códigos de Países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4" name="Rectangle 8"/>
          <p:cNvSpPr/>
          <p:nvPr/>
        </p:nvSpPr>
        <p:spPr>
          <a:xfrm>
            <a:off x="7201604" y="2931790"/>
            <a:ext cx="15468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Cliente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Recurso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Produto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5" name="Rectangle 8"/>
          <p:cNvSpPr/>
          <p:nvPr/>
        </p:nvSpPr>
        <p:spPr>
          <a:xfrm>
            <a:off x="7380312" y="2212458"/>
            <a:ext cx="17628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Oferta de Produto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Campanha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Hierarquia de Produto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137304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2000" y="1131590"/>
            <a:ext cx="81724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solidFill>
                  <a:srgbClr val="009AA6"/>
                </a:solidFill>
                <a:latin typeface="Arial"/>
                <a:cs typeface="Arial"/>
              </a:rPr>
              <a:t>Dados de Referência </a:t>
            </a:r>
            <a:r>
              <a:rPr lang="pt-BR" b="1" dirty="0" smtClean="0">
                <a:solidFill>
                  <a:srgbClr val="009AA6"/>
                </a:solidFill>
                <a:latin typeface="Arial"/>
                <a:cs typeface="Arial"/>
              </a:rPr>
              <a:t>não são</a:t>
            </a:r>
            <a:r>
              <a:rPr lang="pt-BR" dirty="0" smtClean="0">
                <a:solidFill>
                  <a:srgbClr val="009AA6"/>
                </a:solidFill>
                <a:latin typeface="Arial"/>
                <a:cs typeface="Arial"/>
              </a:rPr>
              <a:t> Dados Mestre (ou Master Data)</a:t>
            </a:r>
            <a:endParaRPr lang="en-US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2272559"/>
              </p:ext>
            </p:extLst>
          </p:nvPr>
        </p:nvGraphicFramePr>
        <p:xfrm>
          <a:off x="504556" y="1562958"/>
          <a:ext cx="8073252" cy="3241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6626"/>
                <a:gridCol w="4036626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Reference Data (Dados de Referência)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Master Data (Dados Mestre)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tegoriza outros dados. Valores de referência qualificam e/ou classificam dados Mestre ou Transacionais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presenta a entidades de negócio que participam nas transações de negócio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m conjunto de valores pré-definidos permitidos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nhum conjunto de valores pré-definidos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ão são alterados pelas transações ou processos aplicativos que os usam. Utilizados em modo leitura.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dem ser criados  e alterados dentro das aplicações de negócio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dos relativamente estáticos ou que mudam muito raramente.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ão alterados frequentemente pois representam entidades que  evoluem naturalmente com os processos de negócio.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rutura de dados relativamente “flat” e normalmente não inclui muitos atributos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rmalmente estrutura de dados complexa com muitos atributos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48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 smtClean="0"/>
              <a:t>Arquitetura de Serviços (SOA)</a:t>
            </a:r>
            <a:br>
              <a:rPr lang="pt-BR" dirty="0" smtClean="0"/>
            </a:br>
            <a:r>
              <a:rPr lang="pt-BR" b="0" i="1" dirty="0" smtClean="0"/>
              <a:t>Governança de Reference Data</a:t>
            </a:r>
            <a:endParaRPr lang="pt-BR" b="0" i="1" dirty="0"/>
          </a:p>
        </p:txBody>
      </p:sp>
    </p:spTree>
    <p:extLst>
      <p:ext uri="{BB962C8B-B14F-4D97-AF65-F5344CB8AC3E}">
        <p14:creationId xmlns:p14="http://schemas.microsoft.com/office/powerpoint/2010/main" val="1727232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Introdução &amp; Arquitetura SOA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Q&amp;A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49</a:t>
            </a:fld>
            <a:endParaRPr lang="pt-BR" dirty="0"/>
          </a:p>
        </p:txBody>
      </p:sp>
      <p:sp>
        <p:nvSpPr>
          <p:cNvPr id="9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203598"/>
            <a:ext cx="8316464" cy="1754326"/>
          </a:xfrm>
        </p:spPr>
        <p:txBody>
          <a:bodyPr/>
          <a:lstStyle/>
          <a:p>
            <a:r>
              <a:rPr lang="pt-BR" sz="3600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OA</a:t>
            </a:r>
            <a:r>
              <a:rPr lang="pt-BR" sz="3600" b="1" dirty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pt-BR" sz="3600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Governança, Referência</a:t>
            </a:r>
            <a:r>
              <a:rPr lang="pt-BR" sz="3600" b="1" dirty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, Framework, Canônico</a:t>
            </a:r>
            <a:r>
              <a:rPr lang="pt-BR" sz="3600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, Reference Data, </a:t>
            </a:r>
            <a:r>
              <a:rPr lang="pt-BR" sz="3600" b="1" dirty="0" err="1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uff</a:t>
            </a:r>
            <a:r>
              <a:rPr lang="pt-BR" sz="3600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... Questões?</a:t>
            </a:r>
            <a:endParaRPr lang="pt-BR" sz="3600" b="1" dirty="0">
              <a:solidFill>
                <a:schemeClr val="accent6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/>
          <p:nvPr/>
        </p:nvSpPr>
        <p:spPr bwMode="auto">
          <a:xfrm>
            <a:off x="6715059" y="3579862"/>
            <a:ext cx="1745373" cy="92799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>
            <a:glow rad="139700">
              <a:srgbClr val="7030A0">
                <a:alpha val="40000"/>
              </a:srgb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2000" b="1" dirty="0" smtClean="0">
                <a:solidFill>
                  <a:schemeClr val="bg1"/>
                </a:solidFill>
                <a:latin typeface="Arial" charset="0"/>
              </a:rPr>
              <a:t>Q&amp;A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2000" b="1" dirty="0" smtClean="0">
                <a:solidFill>
                  <a:schemeClr val="bg1"/>
                </a:solidFill>
                <a:latin typeface="Arial" charset="0"/>
              </a:rPr>
              <a:t>15 Minutos</a:t>
            </a:r>
            <a:endParaRPr kumimoji="0" lang="pt-BR" sz="2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7" name="Picture 8" descr="C:\Users\Ezio.Armando\AppData\Local\Microsoft\Windows\Temporary Internet Files\Content.IE5\GB1AWI2J\MCj04344110000[1].wm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3075806"/>
            <a:ext cx="1335660" cy="1502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82056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Módulo I – Introdução &amp; Arquitetura SOA</a:t>
            </a:r>
            <a:br>
              <a:rPr lang="pt-BR" dirty="0" smtClean="0"/>
            </a:br>
            <a:r>
              <a:rPr lang="pt-BR" b="0" i="1" dirty="0" smtClean="0"/>
              <a:t>Apresentações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5</a:t>
            </a:fld>
            <a:endParaRPr lang="pt-BR" dirty="0"/>
          </a:p>
        </p:txBody>
      </p:sp>
      <p:graphicFrame>
        <p:nvGraphicFramePr>
          <p:cNvPr id="10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0318446"/>
              </p:ext>
            </p:extLst>
          </p:nvPr>
        </p:nvGraphicFramePr>
        <p:xfrm>
          <a:off x="395286" y="1195624"/>
          <a:ext cx="8497888" cy="2249424"/>
        </p:xfrm>
        <a:graphic>
          <a:graphicData uri="http://schemas.openxmlformats.org/drawingml/2006/table">
            <a:tbl>
              <a:tblPr firstRow="1">
                <a:tableStyleId>{E8B1032C-EA38-4F05-BA0D-38AFFFC7BED3}</a:tableStyleId>
              </a:tblPr>
              <a:tblGrid>
                <a:gridCol w="1656434"/>
                <a:gridCol w="2736304"/>
                <a:gridCol w="1512168"/>
                <a:gridCol w="2592982"/>
              </a:tblGrid>
              <a:tr h="2055497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6850" lvl="1" indent="-19685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FontTx/>
                        <a:buNone/>
                        <a:defRPr/>
                      </a:pPr>
                      <a:r>
                        <a:rPr lang="en-US" sz="2000" b="1" dirty="0" smtClean="0">
                          <a:solidFill>
                            <a:srgbClr val="C00000"/>
                          </a:solidFill>
                        </a:rPr>
                        <a:t>Henrique</a:t>
                      </a:r>
                      <a:r>
                        <a:rPr lang="en-US" sz="2000" b="1" baseline="0" dirty="0" smtClean="0">
                          <a:solidFill>
                            <a:srgbClr val="C00000"/>
                          </a:solidFill>
                        </a:rPr>
                        <a:t> Morais</a:t>
                      </a:r>
                      <a:endParaRPr lang="en-US" sz="2000" b="1" dirty="0" smtClean="0">
                        <a:solidFill>
                          <a:srgbClr val="C00000"/>
                        </a:solidFill>
                      </a:endParaRPr>
                    </a:p>
                    <a:p>
                      <a:pPr marL="179388" lvl="1" indent="-179388" algn="l" defTabSz="914400" rtl="0" eaLnBrk="1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defRPr/>
                      </a:pPr>
                      <a:r>
                        <a:rPr lang="en-US" sz="14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rente</a:t>
                      </a:r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</a:t>
                      </a:r>
                      <a:r>
                        <a:rPr lang="en-US" sz="1400" b="1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rquitetura</a:t>
                      </a:r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Dados</a:t>
                      </a:r>
                    </a:p>
                    <a:p>
                      <a:pPr marL="179388" lvl="1" indent="-179388" algn="l" defTabSz="914400" rtl="0" eaLnBrk="1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defRPr/>
                      </a:pPr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a </a:t>
                      </a:r>
                      <a:r>
                        <a:rPr lang="en-US" sz="1400" b="1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i</a:t>
                      </a:r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1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de</a:t>
                      </a:r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et 2013</a:t>
                      </a:r>
                    </a:p>
                    <a:p>
                      <a:pPr marL="179388" lvl="1" indent="-179388" algn="l" defTabSz="914400" rtl="0" eaLnBrk="1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defRPr/>
                      </a:pPr>
                      <a:r>
                        <a:rPr lang="en-US" sz="14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periência</a:t>
                      </a: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m</a:t>
                      </a: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gração</a:t>
                      </a: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e </a:t>
                      </a:r>
                      <a:r>
                        <a:rPr lang="en-US" sz="14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envolvimento</a:t>
                      </a: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</a:t>
                      </a:r>
                      <a:r>
                        <a:rPr lang="en-US" sz="14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luções</a:t>
                      </a: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ustomizadas</a:t>
                      </a: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m</a:t>
                      </a: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Java, JE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6850" marR="0" lvl="1" indent="-1968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solidFill>
                            <a:srgbClr val="C00000"/>
                          </a:solidFill>
                        </a:rPr>
                        <a:t>Felipe Santos</a:t>
                      </a:r>
                    </a:p>
                    <a:p>
                      <a:pPr marL="196850" lvl="1" indent="-19685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FontTx/>
                        <a:buChar char="•"/>
                        <a:defRPr/>
                      </a:pPr>
                      <a:r>
                        <a:rPr lang="en-US" sz="1400" b="1" dirty="0" err="1" smtClean="0"/>
                        <a:t>Especialista</a:t>
                      </a:r>
                      <a:r>
                        <a:rPr lang="en-US" sz="1400" b="1" dirty="0" smtClean="0"/>
                        <a:t> SOA</a:t>
                      </a:r>
                      <a:r>
                        <a:rPr lang="en-US" sz="1400" b="1" baseline="0" dirty="0" smtClean="0"/>
                        <a:t> de </a:t>
                      </a:r>
                      <a:r>
                        <a:rPr lang="en-US" sz="1400" b="1" baseline="0" dirty="0" err="1" smtClean="0"/>
                        <a:t>Arquitetura</a:t>
                      </a:r>
                      <a:r>
                        <a:rPr lang="en-US" sz="1400" b="1" baseline="0" dirty="0" smtClean="0"/>
                        <a:t> de Dados</a:t>
                      </a:r>
                    </a:p>
                    <a:p>
                      <a:pPr marL="196850" lvl="1" indent="-19685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FontTx/>
                        <a:buChar char="•"/>
                        <a:defRPr/>
                      </a:pPr>
                      <a:r>
                        <a:rPr lang="en-US" sz="1400" b="1" i="1" baseline="0" dirty="0" smtClean="0"/>
                        <a:t>Na </a:t>
                      </a:r>
                      <a:r>
                        <a:rPr lang="en-US" sz="1400" b="1" i="1" baseline="0" dirty="0" err="1" smtClean="0"/>
                        <a:t>Oi</a:t>
                      </a:r>
                      <a:r>
                        <a:rPr lang="en-US" sz="1400" b="1" i="1" baseline="0" dirty="0" smtClean="0"/>
                        <a:t> </a:t>
                      </a:r>
                      <a:r>
                        <a:rPr lang="en-US" sz="1400" b="1" i="1" baseline="0" dirty="0" err="1" smtClean="0"/>
                        <a:t>desde</a:t>
                      </a:r>
                      <a:r>
                        <a:rPr lang="en-US" sz="1400" b="1" i="1" baseline="0" dirty="0" smtClean="0"/>
                        <a:t> 2012</a:t>
                      </a:r>
                    </a:p>
                    <a:p>
                      <a:pPr marL="196850" marR="0" lvl="1" indent="-1968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4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periência</a:t>
                      </a: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m</a:t>
                      </a: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gração</a:t>
                      </a: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e </a:t>
                      </a:r>
                      <a:r>
                        <a:rPr lang="en-US" sz="14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envolvimento</a:t>
                      </a: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</a:t>
                      </a:r>
                      <a:r>
                        <a:rPr lang="en-US" sz="14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luções</a:t>
                      </a: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ustomizadas</a:t>
                      </a: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m</a:t>
                      </a: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Java, JEE</a:t>
                      </a:r>
                    </a:p>
                    <a:p>
                      <a:pPr marL="196850" lvl="1" indent="-19685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FontTx/>
                        <a:buChar char="•"/>
                        <a:defRPr/>
                      </a:pPr>
                      <a:endParaRPr lang="en-US" sz="1400" b="1" i="1" dirty="0" smtClean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3" name="Picture 1" descr="C:\Users\henrique.morais\Documents\04_Projects\71 TIS School v1 - Delivery\Photo - Henrique.jpg"/>
          <p:cNvPicPr>
            <a:picLocks noChangeAspect="1" noChangeArrowheads="1"/>
          </p:cNvPicPr>
          <p:nvPr/>
        </p:nvPicPr>
        <p:blipFill>
          <a:blip r:embed="rId2" cstate="print">
            <a:grayscl/>
          </a:blip>
          <a:stretch>
            <a:fillRect/>
          </a:stretch>
        </p:blipFill>
        <p:spPr bwMode="auto">
          <a:xfrm>
            <a:off x="467544" y="1275606"/>
            <a:ext cx="1393376" cy="1800201"/>
          </a:xfrm>
          <a:prstGeom prst="rect">
            <a:avLst/>
          </a:prstGeom>
          <a:effectLst>
            <a:outerShdw blurRad="317500" dist="38100" dir="2700000" sx="104000" sy="104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Espaço Reservado para Texto 3"/>
          <p:cNvSpPr txBox="1">
            <a:spLocks/>
          </p:cNvSpPr>
          <p:nvPr/>
        </p:nvSpPr>
        <p:spPr>
          <a:xfrm>
            <a:off x="1979712" y="3603669"/>
            <a:ext cx="64087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indent="0">
              <a:spcBef>
                <a:spcPct val="20000"/>
              </a:spcBef>
              <a:buFont typeface="Arial" pitchFamily="34" charset="0"/>
              <a:buNone/>
              <a:defRPr lang="pt-BR" sz="3600" b="1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171450" indent="0">
              <a:spcBef>
                <a:spcPct val="20000"/>
              </a:spcBef>
              <a:buFont typeface="Arial" pitchFamily="34" charset="0"/>
              <a:buNone/>
              <a:defRPr lang="pt-BR" smtClean="0"/>
            </a:lvl2pPr>
            <a:lvl3pPr marL="685800" indent="0">
              <a:spcBef>
                <a:spcPct val="20000"/>
              </a:spcBef>
              <a:buFont typeface="Arial" pitchFamily="34" charset="0"/>
              <a:buNone/>
              <a:defRPr lang="pt-BR" smtClean="0"/>
            </a:lvl3pPr>
            <a:lvl4pPr marL="1143000" indent="0">
              <a:spcBef>
                <a:spcPct val="20000"/>
              </a:spcBef>
              <a:buFont typeface="Arial" pitchFamily="34" charset="0"/>
              <a:buNone/>
              <a:defRPr lang="pt-BR" smtClean="0"/>
            </a:lvl4pPr>
            <a:lvl5pPr marL="1600200" indent="0">
              <a:spcBef>
                <a:spcPct val="20000"/>
              </a:spcBef>
              <a:buFont typeface="Arial" pitchFamily="34" charset="0"/>
              <a:buNone/>
              <a:defRPr lang="pt-BR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pt-BR" dirty="0"/>
              <a:t>Peço a todos então que se </a:t>
            </a:r>
            <a:r>
              <a:rPr lang="pt-BR" dirty="0" smtClean="0"/>
              <a:t>apresentem!...</a:t>
            </a:r>
            <a:endParaRPr lang="pt-BR" dirty="0"/>
          </a:p>
        </p:txBody>
      </p:sp>
      <p:pic>
        <p:nvPicPr>
          <p:cNvPr id="16" name="Imagem 15" descr="http://interativa/data/interativa/arquivos/assinatura_email/marca1.jp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46" y="3507854"/>
            <a:ext cx="1259834" cy="1274459"/>
          </a:xfrm>
          <a:prstGeom prst="rect">
            <a:avLst/>
          </a:prstGeom>
          <a:noFill/>
          <a:ln>
            <a:noFill/>
          </a:ln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1275606"/>
            <a:ext cx="1368152" cy="1831835"/>
          </a:xfrm>
          <a:prstGeom prst="rect">
            <a:avLst/>
          </a:prstGeom>
          <a:effectLst>
            <a:outerShdw blurRad="317500" dist="38100" dir="2700000" sx="104000" sy="104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3049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Estudo de template Oi-10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3587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121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Módulo I – Introdução &amp; Arquitetura SOA</a:t>
            </a:r>
            <a:br>
              <a:rPr lang="pt-BR" dirty="0" smtClean="0"/>
            </a:br>
            <a:r>
              <a:rPr lang="pt-BR" b="0" i="1" dirty="0" smtClean="0"/>
              <a:t>Tópicos deste Módulo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6</a:t>
            </a:fld>
            <a:endParaRPr lang="pt-BR" dirty="0"/>
          </a:p>
        </p:txBody>
      </p:sp>
      <p:sp>
        <p:nvSpPr>
          <p:cNvPr id="6" name="Espaço Reservado para Conteúdo 2"/>
          <p:cNvSpPr>
            <a:spLocks noGrp="1"/>
          </p:cNvSpPr>
          <p:nvPr>
            <p:ph idx="4294967295"/>
          </p:nvPr>
        </p:nvSpPr>
        <p:spPr>
          <a:xfrm>
            <a:off x="467544" y="1563638"/>
            <a:ext cx="8136904" cy="1508105"/>
          </a:xfrm>
          <a:prstGeom prst="rect">
            <a:avLst/>
          </a:prstGeo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b="0" dirty="0" smtClean="0"/>
              <a:t>Introdução a SO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b="0" dirty="0" smtClean="0"/>
              <a:t>Soluções com SO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/>
              <a:t>Visão da Arquitetura de Referência SO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b="0" dirty="0" smtClean="0"/>
              <a:t>Arquitetura de Serviços da Oi</a:t>
            </a:r>
          </a:p>
        </p:txBody>
      </p:sp>
    </p:spTree>
    <p:extLst>
      <p:ext uri="{BB962C8B-B14F-4D97-AF65-F5344CB8AC3E}">
        <p14:creationId xmlns:p14="http://schemas.microsoft.com/office/powerpoint/2010/main" val="21387129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Módulo I – Introdução &amp; Arquitetura SOA</a:t>
            </a:r>
            <a:br>
              <a:rPr lang="pt-BR" dirty="0" smtClean="0"/>
            </a:br>
            <a:r>
              <a:rPr lang="pt-BR" b="0" i="1" dirty="0" smtClean="0"/>
              <a:t>Agenda deste Módulo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7</a:t>
            </a:fld>
            <a:endParaRPr lang="pt-BR" dirty="0"/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7072763"/>
              </p:ext>
            </p:extLst>
          </p:nvPr>
        </p:nvGraphicFramePr>
        <p:xfrm>
          <a:off x="539552" y="1347614"/>
          <a:ext cx="784887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90754"/>
                <a:gridCol w="1373942"/>
                <a:gridCol w="1584176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Tópicos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Duração (m)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Agenda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800" b="0" dirty="0" smtClean="0"/>
                        <a:t>Introdução a SOA 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30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09h30-10h00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800" b="0" dirty="0" smtClean="0"/>
                        <a:t>Soluções com SOA 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30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10h00-10h30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dirty="0" smtClean="0"/>
                        <a:t>Visão da Arquitetura de Referência SO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30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10h30-11h00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0" dirty="0" smtClean="0"/>
                        <a:t>Arquitetura de Serviços da O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60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11h00-12h00</a:t>
                      </a:r>
                      <a:endParaRPr lang="pt-BR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45801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824400" y="3402000"/>
            <a:ext cx="6843944" cy="954000"/>
          </a:xfrm>
        </p:spPr>
        <p:txBody>
          <a:bodyPr/>
          <a:lstStyle/>
          <a:p>
            <a:r>
              <a:rPr lang="pt-BR" dirty="0" smtClean="0"/>
              <a:t>Introdução a SOA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93463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Introdução a SOA</a:t>
            </a:r>
            <a:br>
              <a:rPr lang="pt-BR" dirty="0" smtClean="0"/>
            </a:br>
            <a:r>
              <a:rPr lang="pt-BR" b="0" i="1" dirty="0" smtClean="0"/>
              <a:t>Discussão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9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357200"/>
            <a:ext cx="8028432" cy="1311128"/>
          </a:xfrm>
        </p:spPr>
        <p:txBody>
          <a:bodyPr/>
          <a:lstStyle/>
          <a:p>
            <a:r>
              <a:rPr lang="pt-BR" sz="3600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O que é SOA?</a:t>
            </a:r>
          </a:p>
          <a:p>
            <a:r>
              <a:rPr lang="pt-BR" sz="3600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Integração baseada em SOA!</a:t>
            </a:r>
            <a:endParaRPr lang="pt-BR" sz="3600" b="1" dirty="0">
              <a:solidFill>
                <a:schemeClr val="accent6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/>
          <p:nvPr/>
        </p:nvSpPr>
        <p:spPr bwMode="auto">
          <a:xfrm>
            <a:off x="6715059" y="3579862"/>
            <a:ext cx="1745373" cy="92799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>
            <a:glow rad="139700">
              <a:srgbClr val="7030A0">
                <a:alpha val="40000"/>
              </a:srgb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2000" b="1" dirty="0" smtClean="0">
                <a:solidFill>
                  <a:schemeClr val="bg1"/>
                </a:solidFill>
                <a:latin typeface="Arial" charset="0"/>
              </a:rPr>
              <a:t>Discussão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2000" b="1" dirty="0">
                <a:solidFill>
                  <a:schemeClr val="bg1"/>
                </a:solidFill>
                <a:latin typeface="Arial" charset="0"/>
              </a:rPr>
              <a:t>5</a:t>
            </a:r>
            <a:r>
              <a:rPr lang="pt-BR" sz="2000" b="1" dirty="0" smtClean="0">
                <a:solidFill>
                  <a:schemeClr val="bg1"/>
                </a:solidFill>
                <a:latin typeface="Arial" charset="0"/>
              </a:rPr>
              <a:t> Minutos</a:t>
            </a:r>
            <a:endParaRPr kumimoji="0" lang="pt-BR" sz="2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7" name="Picture 8" descr="C:\Users\Ezio.Armando\AppData\Local\Microsoft\Windows\Temporary Internet Files\Content.IE5\GB1AWI2J\MCj04344110000[1].wm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3075806"/>
            <a:ext cx="1335660" cy="1502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5577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4c5MI27EKBLT0acepo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cE7JBGECEBh_NnzZi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cE7JBGECEBh_NnzZiSg"/>
</p:tagLst>
</file>

<file path=ppt/theme/theme1.xml><?xml version="1.0" encoding="utf-8"?>
<a:theme xmlns:a="http://schemas.openxmlformats.org/drawingml/2006/main" name="Oi - PPTX - Template geral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03CEB27C93D1A4CA8BB4D99BD509FBF" ma:contentTypeVersion="0" ma:contentTypeDescription="Crie um novo documento." ma:contentTypeScope="" ma:versionID="17b08b277d33035102a791317151a49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30FB247-EB6F-4981-9FA2-E0983315546B}"/>
</file>

<file path=customXml/itemProps2.xml><?xml version="1.0" encoding="utf-8"?>
<ds:datastoreItem xmlns:ds="http://schemas.openxmlformats.org/officeDocument/2006/customXml" ds:itemID="{0C83A1A8-B4A8-4D36-9DE5-0C52336242B4}"/>
</file>

<file path=customXml/itemProps3.xml><?xml version="1.0" encoding="utf-8"?>
<ds:datastoreItem xmlns:ds="http://schemas.openxmlformats.org/officeDocument/2006/customXml" ds:itemID="{08154AFF-8EEC-4438-9CE4-CD4AD65CB72A}"/>
</file>

<file path=docProps/app.xml><?xml version="1.0" encoding="utf-8"?>
<Properties xmlns="http://schemas.openxmlformats.org/officeDocument/2006/extended-properties" xmlns:vt="http://schemas.openxmlformats.org/officeDocument/2006/docPropsVTypes">
  <Template>Oi - PPTX - Template geral</Template>
  <TotalTime>26010</TotalTime>
  <Words>4537</Words>
  <Application>Microsoft Office PowerPoint</Application>
  <PresentationFormat>Apresentação na tela (16:9)</PresentationFormat>
  <Paragraphs>383</Paragraphs>
  <Slides>50</Slides>
  <Notes>4</Notes>
  <HiddenSlides>4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50</vt:i4>
      </vt:variant>
    </vt:vector>
  </HeadingPairs>
  <TitlesOfParts>
    <vt:vector size="52" baseType="lpstr">
      <vt:lpstr>Oi - PPTX - Template geral</vt:lpstr>
      <vt:lpstr>Equação</vt:lpstr>
      <vt:lpstr>Escola SOA Módulo I Introdução &amp; Arquitetura SOA v1.00</vt:lpstr>
      <vt:lpstr>Controlo de Versão</vt:lpstr>
      <vt:lpstr>Apresentação do PowerPoint</vt:lpstr>
      <vt:lpstr>Apresentação do PowerPoint</vt:lpstr>
      <vt:lpstr>Módulo I – Introdução &amp; Arquitetura SOA Apresentações</vt:lpstr>
      <vt:lpstr>Módulo I – Introdução &amp; Arquitetura SOA Tópicos deste Módulo</vt:lpstr>
      <vt:lpstr>Módulo I – Introdução &amp; Arquitetura SOA Agenda deste Módulo</vt:lpstr>
      <vt:lpstr>Apresentação do PowerPoint</vt:lpstr>
      <vt:lpstr>Introdução a SOA Discussão</vt:lpstr>
      <vt:lpstr>Introdução a SOA História - Da Integração P2P a SOA </vt:lpstr>
      <vt:lpstr>Introdução a SOA História - Da Integração P2P a SOA </vt:lpstr>
      <vt:lpstr>Introdução a SOA História - Da Integração P2P a SOA </vt:lpstr>
      <vt:lpstr>Introdução a SOA História - Da Integração P2P a SOA </vt:lpstr>
      <vt:lpstr>Introdução a SOA Definindo SOA</vt:lpstr>
      <vt:lpstr>Introdução a SOA SOA e outros tipos de Integração</vt:lpstr>
      <vt:lpstr>Introdução a SOA Conceitos Gerais sobre Serviços</vt:lpstr>
      <vt:lpstr>Apresentação do PowerPoint</vt:lpstr>
      <vt:lpstr>Soluções com SOA Tecnologias &amp; Maturidade</vt:lpstr>
      <vt:lpstr>Introdução a SOA Discussão</vt:lpstr>
      <vt:lpstr>Soluções com SOA Integração com Serviços</vt:lpstr>
      <vt:lpstr>Soluções com SOA Soluções Customizadas com Serviços</vt:lpstr>
      <vt:lpstr>Soluções com SOA Camada de Abstração de Serviços (SAL)*</vt:lpstr>
      <vt:lpstr>Soluções com SOA Serviços Compostos com Orquestração</vt:lpstr>
      <vt:lpstr>Soluções com SOA Soluções Compostas com Portais</vt:lpstr>
      <vt:lpstr>Soluções com SOA RIAs com Serviços Externos e Internos</vt:lpstr>
      <vt:lpstr>Soluções com SOA Discussão</vt:lpstr>
      <vt:lpstr>Apresentação do PowerPoint</vt:lpstr>
      <vt:lpstr>Arquitetura de Referência SOA Porque mudar as coisas? Motivação! </vt:lpstr>
      <vt:lpstr>Arquitetura de Referência SOA Quais as melhores práticas?</vt:lpstr>
      <vt:lpstr>Arquitetura de Referência SOA Nova Governança!</vt:lpstr>
      <vt:lpstr>Arquitetura de Referência SOA Modelo Conceitual</vt:lpstr>
      <vt:lpstr>Arquitetura de Referência SOA Modelo Conceitual </vt:lpstr>
      <vt:lpstr>Arquitetura de Referência SOA Componentes</vt:lpstr>
      <vt:lpstr>Arquitetura de Referência SOA Componentes</vt:lpstr>
      <vt:lpstr>Arquitetura de Referência SOA Arquitetura Técnica</vt:lpstr>
      <vt:lpstr>Apresentação do PowerPoint</vt:lpstr>
      <vt:lpstr>Arquitetura de Serviços (SOA) Arquitetura de Referência</vt:lpstr>
      <vt:lpstr>Arquitetura de Serviços (SOA) Topologia da Arquitetura de Serviços</vt:lpstr>
      <vt:lpstr>Arquitetura de Serviços (SOA) Barramento Corporativo de Serviços “Aplicacionais”</vt:lpstr>
      <vt:lpstr>Arquitetura de Serviços (SOA) Barramento Corporativo de Serviços “Aplicacionais”</vt:lpstr>
      <vt:lpstr>Arquitetura de Serviços (SOA) Barramento Corporativo de Serviços “Aplicacionais”</vt:lpstr>
      <vt:lpstr>Arquitetura de Serviços (SOA) Governança de Dados na Integraçã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Introdução &amp; Arquitetura SOA Q&amp;A</vt:lpstr>
      <vt:lpstr>Apresentação do PowerPoint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Felipe Santos</dc:creator>
  <cp:lastModifiedBy>Henrique Morais</cp:lastModifiedBy>
  <cp:revision>670</cp:revision>
  <dcterms:created xsi:type="dcterms:W3CDTF">2014-01-28T19:15:09Z</dcterms:created>
  <dcterms:modified xsi:type="dcterms:W3CDTF">2015-01-21T11:24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3CEB27C93D1A4CA8BB4D99BD509FBF</vt:lpwstr>
  </property>
</Properties>
</file>